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ink/ink1.xml" ContentType="application/inkml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25"/>
  </p:notesMasterIdLst>
  <p:handoutMasterIdLst>
    <p:handoutMasterId r:id="rId26"/>
  </p:handoutMasterIdLst>
  <p:sldIdLst>
    <p:sldId id="611" r:id="rId2"/>
    <p:sldId id="787" r:id="rId3"/>
    <p:sldId id="619" r:id="rId4"/>
    <p:sldId id="793" r:id="rId5"/>
    <p:sldId id="286" r:id="rId6"/>
    <p:sldId id="467" r:id="rId7"/>
    <p:sldId id="422" r:id="rId8"/>
    <p:sldId id="424" r:id="rId9"/>
    <p:sldId id="425" r:id="rId10"/>
    <p:sldId id="431" r:id="rId11"/>
    <p:sldId id="400" r:id="rId12"/>
    <p:sldId id="271" r:id="rId13"/>
    <p:sldId id="264" r:id="rId14"/>
    <p:sldId id="287" r:id="rId15"/>
    <p:sldId id="610" r:id="rId16"/>
    <p:sldId id="792" r:id="rId17"/>
    <p:sldId id="569" r:id="rId18"/>
    <p:sldId id="794" r:id="rId19"/>
    <p:sldId id="791" r:id="rId20"/>
    <p:sldId id="613" r:id="rId21"/>
    <p:sldId id="627" r:id="rId22"/>
    <p:sldId id="580" r:id="rId23"/>
    <p:sldId id="786" r:id="rId24"/>
  </p:sldIdLst>
  <p:sldSz cx="9144000" cy="6858000" type="screen4x3"/>
  <p:notesSz cx="6858000" cy="9296400"/>
  <p:custDataLst>
    <p:tags r:id="rId2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3165BB"/>
    <a:srgbClr val="210472"/>
    <a:srgbClr val="E31C24"/>
    <a:srgbClr val="177D36"/>
    <a:srgbClr val="E3261A"/>
    <a:srgbClr val="FFFFFF"/>
    <a:srgbClr val="EFF4FF"/>
    <a:srgbClr val="999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7" autoAdjust="0"/>
    <p:restoredTop sz="92527" autoAdjust="0"/>
  </p:normalViewPr>
  <p:slideViewPr>
    <p:cSldViewPr>
      <p:cViewPr varScale="1">
        <p:scale>
          <a:sx n="98" d="100"/>
          <a:sy n="98" d="100"/>
        </p:scale>
        <p:origin x="1046" y="8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2562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png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72421" cy="46657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027" y="0"/>
            <a:ext cx="2972421" cy="46657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1AD34F7-C2B2-4E32-9C51-544E3A048438}" type="datetimeFigureOut">
              <a:rPr lang="en-US" smtClean="0"/>
              <a:pPr/>
              <a:t>8/21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8829822"/>
            <a:ext cx="2972421" cy="46657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027" y="8829822"/>
            <a:ext cx="2972421" cy="46657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481A33F-92D9-4A1C-86AB-474DED61C1F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2527302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ax="1920" units="cm"/>
          <inkml:channel name="Y" type="integer" max="1080" units="cm"/>
          <inkml:channel name="T" type="integer" max="2.14748E9" units="dev"/>
        </inkml:traceFormat>
        <inkml:channelProperties>
          <inkml:channelProperty channel="X" name="resolution" value="62.13592" units="1/cm"/>
          <inkml:channelProperty channel="Y" name="resolution" value="62.42775" units="1/cm"/>
          <inkml:channelProperty channel="T" name="resolution" value="1" units="1/dev"/>
        </inkml:channelProperties>
      </inkml:inkSource>
      <inkml:timestamp xml:id="ts0" timeString="2016-01-04T02:42:23.223"/>
    </inkml:context>
    <inkml:brush xml:id="br0">
      <inkml:brushProperty name="width" value="0.06667" units="cm"/>
      <inkml:brushProperty name="height" value="0.06667" units="cm"/>
      <inkml:brushProperty name="fitToCurve" value="1"/>
    </inkml:brush>
  </inkml:definitions>
  <inkml:trace contextRef="#ctx0" brushRef="#br0">0 0 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0"/>
            <a:ext cx="2972421" cy="46657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030" y="0"/>
            <a:ext cx="2972421" cy="46657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F7E602D-1A82-456E-82C3-0704FA7C9825}" type="datetimeFigureOut">
              <a:rPr lang="en-US" smtClean="0"/>
              <a:pPr/>
              <a:t>8/21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36675" y="1162050"/>
            <a:ext cx="4184650" cy="31384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6421" y="4474036"/>
            <a:ext cx="5485158" cy="366071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4" y="8829822"/>
            <a:ext cx="2972421" cy="46657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030" y="8829822"/>
            <a:ext cx="2972421" cy="46657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F2F741C-05A4-495F-A8AA-5F7F8DF2FE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0049781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et’s start looking at the challenge facing the</a:t>
            </a:r>
            <a:r>
              <a:rPr lang="en-US" baseline="0" dirty="0"/>
              <a:t> NHS today from a funding perspective.</a:t>
            </a:r>
          </a:p>
          <a:p>
            <a:r>
              <a:rPr lang="en-US" baseline="0" dirty="0"/>
              <a:t>Overall 3-4% annual increase in costs – demographics, patterns of disease, healthcare knowledge and technology.</a:t>
            </a:r>
          </a:p>
          <a:p>
            <a:r>
              <a:rPr lang="en-US" baseline="0" dirty="0"/>
              <a:t>Until 2010, funding for the NHS more or less matched the demand.  This changed abruptly with the onset of austerity and now we have a </a:t>
            </a:r>
            <a:r>
              <a:rPr lang="en-US" baseline="0" dirty="0" err="1"/>
              <a:t>mis</a:t>
            </a:r>
            <a:r>
              <a:rPr lang="en-US" baseline="0" dirty="0"/>
              <a:t>-match of about 3% between the rise in healthcare costs and the amount of money to meet them.  </a:t>
            </a:r>
          </a:p>
          <a:p>
            <a:r>
              <a:rPr lang="en-US" baseline="0" dirty="0"/>
              <a:t> 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1E7474A-FC6E-4DE9-AAB8-5F6D95861EA0}" type="slidenum">
              <a:rPr lang="en-GB" smtClean="0"/>
              <a:pPr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5320998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087582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83803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sz="1200" i="1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564239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200601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957504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024350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GB" dirty="0"/>
              <a:t>Did some further processing of the information from the workshop, drawing out value patterns for H1 and H3.  It was here I began to realise how we</a:t>
            </a:r>
            <a:r>
              <a:rPr lang="en-GB" baseline="0" dirty="0"/>
              <a:t> grow a different system by living its values – list the H3 values.  H1 values still have their place, but in the service of H3 not at its expense.  </a:t>
            </a:r>
          </a:p>
          <a:p>
            <a:r>
              <a:rPr lang="en-GB" baseline="0" dirty="0"/>
              <a:t>Further distilling of H2 led to 6 promising pathways which the team I’ve worked with have been using ever since.  When opportunities arise, we know how to direct our efforts.  </a:t>
            </a:r>
          </a:p>
          <a:p>
            <a:r>
              <a:rPr lang="en-GB" baseline="0" dirty="0"/>
              <a:t>Increasingly the practice is becoming a way of “introducing the new in the presence of the old”, working with the dilemmas which we encounter all the time in the process.  </a:t>
            </a:r>
          </a:p>
          <a:p>
            <a:endParaRPr lang="en-GB" baseline="0" dirty="0"/>
          </a:p>
          <a:p>
            <a:endParaRPr lang="en-GB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1E7474A-FC6E-4DE9-AAB8-5F6D95861EA0}" type="slidenum">
              <a:rPr lang="en-GB" smtClean="0"/>
              <a:pPr/>
              <a:t>12</a:t>
            </a:fld>
            <a:endParaRPr lang="en-GB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5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1506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endParaRPr lang="en-US" b="1"/>
          </a:p>
        </p:txBody>
      </p:sp>
      <p:sp>
        <p:nvSpPr>
          <p:cNvPr id="21507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fld id="{967E81D1-E7C7-434C-9B98-1F6E347574A2}" type="slidenum">
              <a:rPr lang="en-GB" sz="1200"/>
              <a:pPr eaLnBrk="1" hangingPunct="1"/>
              <a:t>14</a:t>
            </a:fld>
            <a:endParaRPr lang="en-GB" sz="120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89160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gi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ith text only or primary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5760" y="1897603"/>
            <a:ext cx="4628956" cy="842400"/>
          </a:xfrm>
        </p:spPr>
        <p:txBody>
          <a:bodyPr lIns="0" tIns="0" rIns="0" bIns="0" anchor="b">
            <a:noAutofit/>
          </a:bodyPr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5760" y="2778756"/>
            <a:ext cx="4629600" cy="137160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0"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9" name="Picture 8" descr="DEL_PRI_RGB.gif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5984" y="399576"/>
            <a:ext cx="1720800" cy="322531"/>
          </a:xfrm>
          <a:prstGeom prst="rect">
            <a:avLst/>
          </a:prstGeom>
        </p:spPr>
      </p:pic>
    </p:spTree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5760" y="295683"/>
            <a:ext cx="41148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782620"/>
            <a:ext cx="4114800" cy="757255"/>
          </a:xfr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365760" y="1611313"/>
            <a:ext cx="4114800" cy="4733788"/>
          </a:xfrm>
        </p:spPr>
        <p:txBody>
          <a:bodyPr/>
          <a:lstStyle>
            <a:lvl4pPr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8610671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5760" y="295683"/>
            <a:ext cx="841248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782620"/>
            <a:ext cx="8412480" cy="766749"/>
          </a:xfr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365760" y="1611313"/>
            <a:ext cx="4114800" cy="4733788"/>
          </a:xfrm>
        </p:spPr>
        <p:txBody>
          <a:bodyPr/>
          <a:lstStyle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7089491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>
            <a:extLst>
              <a:ext uri="{FF2B5EF4-FFF2-40B4-BE49-F238E27FC236}">
                <a16:creationId xmlns:a16="http://schemas.microsoft.com/office/drawing/2014/main" id="{B65B5903-B3FC-4AE5-A856-5E319F6C168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46913" y="86507"/>
            <a:ext cx="984626" cy="980293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423936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Medium Blu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65125" y="1782208"/>
            <a:ext cx="8229600" cy="1143000"/>
          </a:xfrm>
        </p:spPr>
        <p:txBody>
          <a:bodyPr lIns="0" tIns="0" rIns="0" bIns="0"/>
          <a:lstStyle>
            <a:lvl1pPr>
              <a:defRPr sz="6000">
                <a:solidFill>
                  <a:schemeClr val="bg1"/>
                </a:solidFill>
              </a:defRPr>
            </a:lvl1pPr>
            <a:lvl2pPr>
              <a:defRPr sz="6000">
                <a:solidFill>
                  <a:schemeClr val="bg2"/>
                </a:solidFill>
              </a:defRPr>
            </a:lvl2pPr>
            <a:lvl3pPr>
              <a:defRPr sz="6000">
                <a:solidFill>
                  <a:schemeClr val="bg2"/>
                </a:solidFill>
              </a:defRPr>
            </a:lvl3pPr>
            <a:lvl4pPr>
              <a:defRPr sz="6000">
                <a:solidFill>
                  <a:schemeClr val="bg2"/>
                </a:solidFill>
              </a:defRPr>
            </a:lvl4pPr>
            <a:lvl5pPr>
              <a:defRPr sz="6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divider text</a:t>
            </a:r>
          </a:p>
        </p:txBody>
      </p:sp>
    </p:spTree>
    <p:extLst>
      <p:ext uri="{BB962C8B-B14F-4D97-AF65-F5344CB8AC3E}">
        <p14:creationId xmlns:p14="http://schemas.microsoft.com/office/powerpoint/2010/main" val="2348242057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Dark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65125" y="1782208"/>
            <a:ext cx="8229600" cy="1143000"/>
          </a:xfrm>
        </p:spPr>
        <p:txBody>
          <a:bodyPr/>
          <a:lstStyle>
            <a:lvl1pPr>
              <a:defRPr sz="6000">
                <a:solidFill>
                  <a:schemeClr val="bg1"/>
                </a:solidFill>
              </a:defRPr>
            </a:lvl1pPr>
            <a:lvl2pPr>
              <a:defRPr sz="6000">
                <a:solidFill>
                  <a:schemeClr val="bg2"/>
                </a:solidFill>
              </a:defRPr>
            </a:lvl2pPr>
            <a:lvl3pPr>
              <a:defRPr sz="6000">
                <a:solidFill>
                  <a:schemeClr val="bg2"/>
                </a:solidFill>
              </a:defRPr>
            </a:lvl3pPr>
            <a:lvl4pPr>
              <a:defRPr sz="6000">
                <a:solidFill>
                  <a:schemeClr val="bg2"/>
                </a:solidFill>
              </a:defRPr>
            </a:lvl4pPr>
            <a:lvl5pPr>
              <a:defRPr sz="6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divider text</a:t>
            </a:r>
          </a:p>
        </p:txBody>
      </p:sp>
    </p:spTree>
    <p:extLst>
      <p:ext uri="{BB962C8B-B14F-4D97-AF65-F5344CB8AC3E}">
        <p14:creationId xmlns:p14="http://schemas.microsoft.com/office/powerpoint/2010/main" val="2745454958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65125" y="1782208"/>
            <a:ext cx="8229600" cy="1143000"/>
          </a:xfrm>
        </p:spPr>
        <p:txBody>
          <a:bodyPr/>
          <a:lstStyle>
            <a:lvl1pPr>
              <a:defRPr sz="6000">
                <a:solidFill>
                  <a:schemeClr val="bg1"/>
                </a:solidFill>
              </a:defRPr>
            </a:lvl1pPr>
            <a:lvl2pPr>
              <a:defRPr sz="6000">
                <a:solidFill>
                  <a:schemeClr val="bg2"/>
                </a:solidFill>
              </a:defRPr>
            </a:lvl2pPr>
            <a:lvl3pPr>
              <a:defRPr sz="6000">
                <a:solidFill>
                  <a:schemeClr val="bg2"/>
                </a:solidFill>
              </a:defRPr>
            </a:lvl3pPr>
            <a:lvl4pPr>
              <a:defRPr sz="6000">
                <a:solidFill>
                  <a:schemeClr val="bg2"/>
                </a:solidFill>
              </a:defRPr>
            </a:lvl4pPr>
            <a:lvl5pPr>
              <a:defRPr sz="6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divider text</a:t>
            </a:r>
          </a:p>
        </p:txBody>
      </p:sp>
    </p:spTree>
    <p:extLst>
      <p:ext uri="{BB962C8B-B14F-4D97-AF65-F5344CB8AC3E}">
        <p14:creationId xmlns:p14="http://schemas.microsoft.com/office/powerpoint/2010/main" val="2745454958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with primary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65125" y="1782208"/>
            <a:ext cx="8229600" cy="1143000"/>
          </a:xfrm>
        </p:spPr>
        <p:txBody>
          <a:bodyPr/>
          <a:lstStyle>
            <a:lvl1pPr>
              <a:defRPr sz="6000" baseline="0">
                <a:solidFill>
                  <a:schemeClr val="accent2"/>
                </a:solidFill>
              </a:defRPr>
            </a:lvl1pPr>
            <a:lvl2pPr>
              <a:defRPr sz="6000">
                <a:solidFill>
                  <a:schemeClr val="accent2"/>
                </a:solidFill>
              </a:defRPr>
            </a:lvl2pPr>
            <a:lvl3pPr>
              <a:defRPr sz="6000">
                <a:solidFill>
                  <a:schemeClr val="accent2"/>
                </a:solidFill>
              </a:defRPr>
            </a:lvl3pPr>
            <a:lvl4pPr>
              <a:defRPr sz="6000">
                <a:solidFill>
                  <a:schemeClr val="accent2"/>
                </a:solidFill>
              </a:defRPr>
            </a:lvl4pPr>
            <a:lvl5pPr>
              <a:defRPr sz="6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edit divider text</a:t>
            </a:r>
          </a:p>
        </p:txBody>
      </p:sp>
    </p:spTree>
    <p:extLst>
      <p:ext uri="{BB962C8B-B14F-4D97-AF65-F5344CB8AC3E}">
        <p14:creationId xmlns:p14="http://schemas.microsoft.com/office/powerpoint/2010/main" val="2386664937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with secondary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65125" y="1818068"/>
            <a:ext cx="2811073" cy="3007406"/>
          </a:xfrm>
        </p:spPr>
        <p:txBody>
          <a:bodyPr/>
          <a:lstStyle>
            <a:lvl1pPr>
              <a:defRPr sz="4800">
                <a:solidFill>
                  <a:schemeClr val="accent2"/>
                </a:solidFill>
              </a:defRPr>
            </a:lvl1pPr>
            <a:lvl2pPr>
              <a:defRPr sz="4800">
                <a:solidFill>
                  <a:schemeClr val="accent2"/>
                </a:solidFill>
              </a:defRPr>
            </a:lvl2pPr>
            <a:lvl3pPr>
              <a:defRPr sz="4800">
                <a:solidFill>
                  <a:schemeClr val="accent2"/>
                </a:solidFill>
              </a:defRPr>
            </a:lvl3pPr>
            <a:lvl4pPr>
              <a:defRPr sz="4800">
                <a:solidFill>
                  <a:schemeClr val="accent2"/>
                </a:solidFill>
              </a:defRPr>
            </a:lvl4pPr>
            <a:lvl5pPr>
              <a:defRPr sz="48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edit divider text</a:t>
            </a:r>
          </a:p>
        </p:txBody>
      </p:sp>
    </p:spTree>
    <p:extLst>
      <p:ext uri="{BB962C8B-B14F-4D97-AF65-F5344CB8AC3E}">
        <p14:creationId xmlns:p14="http://schemas.microsoft.com/office/powerpoint/2010/main" val="4199572907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Medium Blu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5760" y="319066"/>
            <a:ext cx="6845093" cy="5988439"/>
          </a:xfrm>
        </p:spPr>
        <p:txBody>
          <a:bodyPr/>
          <a:lstStyle>
            <a:lvl1pPr>
              <a:spcBef>
                <a:spcPts val="3600"/>
              </a:spcBef>
              <a:defRPr sz="30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18365956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5760" y="319066"/>
            <a:ext cx="6845093" cy="5988439"/>
          </a:xfrm>
        </p:spPr>
        <p:txBody>
          <a:bodyPr/>
          <a:lstStyle>
            <a:lvl1pPr>
              <a:spcBef>
                <a:spcPts val="3600"/>
              </a:spcBef>
              <a:defRPr sz="30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75225841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ith secondary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5760" y="1897603"/>
            <a:ext cx="2772000" cy="841248"/>
          </a:xfrm>
        </p:spPr>
        <p:txBody>
          <a:bodyPr anchor="b"/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5760" y="2778756"/>
            <a:ext cx="2770632" cy="137160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0"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8" name="Picture 7" descr="DEL_PRI_RGB.gif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5984" y="399576"/>
            <a:ext cx="1720800" cy="322531"/>
          </a:xfrm>
          <a:prstGeom prst="rect">
            <a:avLst/>
          </a:prstGeom>
        </p:spPr>
      </p:pic>
    </p:spTree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5760" y="319066"/>
            <a:ext cx="6845093" cy="5988439"/>
          </a:xfrm>
        </p:spPr>
        <p:txBody>
          <a:bodyPr/>
          <a:lstStyle>
            <a:lvl1pPr>
              <a:spcBef>
                <a:spcPts val="3600"/>
              </a:spcBef>
              <a:defRPr sz="30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75225841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ilde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DEL_PRI_RGB.gi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8897" y="3904488"/>
            <a:ext cx="1720800" cy="322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7453218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0114" y="308406"/>
            <a:ext cx="8388000" cy="288669"/>
          </a:xfrm>
          <a:prstGeom prst="rect">
            <a:avLst/>
          </a:prstGeom>
        </p:spPr>
        <p:txBody>
          <a:bodyPr rtlCol="0">
            <a:spAutoFit/>
          </a:bodyPr>
          <a:lstStyle>
            <a:lvl1pPr>
              <a:defRPr sz="1876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370114" y="879970"/>
            <a:ext cx="7688944" cy="276999"/>
          </a:xfrm>
        </p:spPr>
        <p:txBody>
          <a:bodyPr>
            <a:spAutoFit/>
          </a:bodyPr>
          <a:lstStyle>
            <a:lvl1pPr marL="0" indent="0">
              <a:spcAft>
                <a:spcPts val="0"/>
              </a:spcAft>
              <a:buFontTx/>
              <a:buNone/>
              <a:defRPr/>
            </a:lvl1pPr>
            <a:lvl2pPr marL="171496" indent="-171496">
              <a:buFontTx/>
              <a:buBlip>
                <a:blip r:embed="rId2"/>
              </a:buBlip>
              <a:defRPr/>
            </a:lvl2pPr>
            <a:lvl3pPr marL="342991" indent="-171496">
              <a:buFontTx/>
              <a:buBlip>
                <a:blip r:embed="rId3"/>
              </a:buBlip>
              <a:defRPr/>
            </a:lvl3pPr>
            <a:lvl4pPr marL="514487" indent="-171496">
              <a:buFontTx/>
              <a:buBlip>
                <a:blip r:embed="rId4"/>
              </a:buBlip>
              <a:defRPr/>
            </a:lvl4pPr>
            <a:lvl5pPr marL="685983" indent="-171496">
              <a:buFontTx/>
              <a:buBlip>
                <a:blip r:embed="rId5"/>
              </a:buBlip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7"/>
          </p:nvPr>
        </p:nvSpPr>
        <p:spPr>
          <a:xfrm>
            <a:off x="3543031" y="6416676"/>
            <a:ext cx="2056745" cy="365125"/>
          </a:xfrm>
          <a:prstGeom prst="rect">
            <a:avLst/>
          </a:prstGeom>
        </p:spPr>
        <p:txBody>
          <a:bodyPr/>
          <a:lstStyle/>
          <a:p>
            <a:fld id="{C814A648-7F95-454D-A2AB-527D4DDD38B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9842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:mv="urn:schemas-microsoft-com:mac:vml" xmlns="">
      <p:transition/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-poi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16"/>
          <p:cNvSpPr>
            <a:spLocks noGrp="1"/>
          </p:cNvSpPr>
          <p:nvPr>
            <p:ph type="body" sz="quarter" idx="13"/>
          </p:nvPr>
        </p:nvSpPr>
        <p:spPr>
          <a:xfrm>
            <a:off x="336551" y="543898"/>
            <a:ext cx="8464550" cy="1001713"/>
          </a:xfrm>
          <a:prstGeom prst="rect">
            <a:avLst/>
          </a:prstGeom>
        </p:spPr>
        <p:txBody>
          <a:bodyPr lIns="73124"/>
          <a:lstStyle>
            <a:lvl1pPr>
              <a:spcBef>
                <a:spcPts val="0"/>
              </a:spcBef>
              <a:defRPr sz="2400">
                <a:solidFill>
                  <a:schemeClr val="tx1"/>
                </a:solidFill>
                <a:latin typeface="Cambria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85524847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MLO_ExecBriefing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7067525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9992" y="168446"/>
            <a:ext cx="8807191" cy="1031378"/>
          </a:xfrm>
        </p:spPr>
        <p:txBody>
          <a:bodyPr/>
          <a:lstStyle>
            <a:lvl1pPr>
              <a:defRPr sz="2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9" name="Text Placeholder 38"/>
          <p:cNvSpPr>
            <a:spLocks noGrp="1"/>
          </p:cNvSpPr>
          <p:nvPr>
            <p:ph type="body" sz="quarter" idx="11"/>
          </p:nvPr>
        </p:nvSpPr>
        <p:spPr>
          <a:xfrm>
            <a:off x="169992" y="1272905"/>
            <a:ext cx="8807690" cy="822960"/>
          </a:xfrm>
        </p:spPr>
        <p:txBody>
          <a:bodyPr vert="horz" lIns="0" tIns="0" rIns="0" bIns="0" rtlCol="0"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3"/>
          <p:cNvSpPr>
            <a:spLocks noGrp="1"/>
          </p:cNvSpPr>
          <p:nvPr>
            <p:ph type="sldNum" sz="quarter" idx="4"/>
          </p:nvPr>
        </p:nvSpPr>
        <p:spPr>
          <a:xfrm>
            <a:off x="169992" y="6596418"/>
            <a:ext cx="444484" cy="23083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900" b="1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fld id="{4687EF64-1417-46D3-B2A9-0B44CD7E3AA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142312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ith 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12881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1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1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3" descr="Cover-image-3.jp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5" name="Rectangle 14"/>
          <p:cNvSpPr/>
          <p:nvPr userDrawn="1"/>
        </p:nvSpPr>
        <p:spPr>
          <a:xfrm>
            <a:off x="369066" y="-1"/>
            <a:ext cx="5486400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6" name="Picture 15" descr="DEL_PRI_RGB.gif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698" y="366583"/>
            <a:ext cx="1720800" cy="32253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1838" y="998068"/>
            <a:ext cx="4878856" cy="670396"/>
          </a:xfrm>
        </p:spPr>
        <p:txBody>
          <a:bodyPr anchor="b"/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21838" y="1672132"/>
            <a:ext cx="4878856" cy="670396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 b="0"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65760" y="1611313"/>
            <a:ext cx="8412480" cy="473429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81091110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95035338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782620"/>
            <a:ext cx="8412480" cy="757255"/>
          </a:xfr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5760" y="295683"/>
            <a:ext cx="841248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365760" y="1611313"/>
            <a:ext cx="8412480" cy="4734292"/>
          </a:xfrm>
        </p:spPr>
        <p:txBody>
          <a:bodyPr/>
          <a:lstStyle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2647120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782620"/>
            <a:ext cx="8412480" cy="757255"/>
          </a:xfr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5760" y="295683"/>
            <a:ext cx="841248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28195933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65760" y="295683"/>
            <a:ext cx="5394960" cy="124358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365760" y="1611313"/>
            <a:ext cx="5394960" cy="4735487"/>
          </a:xfr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510875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5760" y="295683"/>
            <a:ext cx="841248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782620"/>
            <a:ext cx="8412480" cy="757255"/>
          </a:xfr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6"/>
          </p:nvPr>
        </p:nvSpPr>
        <p:spPr>
          <a:xfrm>
            <a:off x="365760" y="1611313"/>
            <a:ext cx="4114800" cy="4735487"/>
          </a:xfrm>
        </p:spPr>
        <p:txBody>
          <a:bodyPr/>
          <a:lstStyle>
            <a:lvl4pPr>
              <a:defRPr/>
            </a:lvl4pPr>
            <a:lvl5pPr>
              <a:defRPr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7"/>
          </p:nvPr>
        </p:nvSpPr>
        <p:spPr>
          <a:xfrm>
            <a:off x="4663440" y="1611313"/>
            <a:ext cx="4114800" cy="4735487"/>
          </a:xfrm>
        </p:spPr>
        <p:txBody>
          <a:bodyPr/>
          <a:lstStyle>
            <a:lvl4pPr>
              <a:defRPr/>
            </a:lvl4pPr>
            <a:lvl5pPr>
              <a:defRPr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2891208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vmlDrawing" Target="../drawings/vmlDrawing1.vml"/><Relationship Id="rId30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33605406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29" name="think-cell Slide" r:id="rId29" imgW="6350000" imgH="6350000" progId="">
                  <p:embed/>
                </p:oleObj>
              </mc:Choice>
              <mc:Fallback>
                <p:oleObj name="think-cell Slide" r:id="rId29" imgW="6350000" imgH="6350000" progId="">
                  <p:embed/>
                  <p:pic>
                    <p:nvPicPr>
                      <p:cNvPr id="0" name="Picture 3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65760" y="295683"/>
            <a:ext cx="8412480" cy="12441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65760" y="1611313"/>
            <a:ext cx="8412480" cy="473429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Bullet level 1</a:t>
            </a:r>
          </a:p>
          <a:p>
            <a:pPr lvl="2"/>
            <a:r>
              <a:rPr lang="en-US" dirty="0"/>
              <a:t>Bullet level 2</a:t>
            </a:r>
          </a:p>
          <a:p>
            <a:pPr lvl="3"/>
            <a:r>
              <a:rPr lang="en-US" dirty="0"/>
              <a:t>Bullet level 3</a:t>
            </a:r>
          </a:p>
          <a:p>
            <a:pPr lvl="4"/>
            <a:r>
              <a:rPr lang="en-US" dirty="0"/>
              <a:t>Bullet level 4</a:t>
            </a:r>
          </a:p>
        </p:txBody>
      </p:sp>
      <p:sp>
        <p:nvSpPr>
          <p:cNvPr id="6" name="TextBox 5"/>
          <p:cNvSpPr txBox="1"/>
          <p:nvPr/>
        </p:nvSpPr>
        <p:spPr bwMode="gray">
          <a:xfrm>
            <a:off x="365760" y="6481703"/>
            <a:ext cx="4572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l"/>
            <a:fld id="{95CC1D26-A9BD-4BDE-BDD9-08EDBAE96860}" type="slidenum">
              <a:rPr lang="en-US" sz="800" smtClean="0">
                <a:solidFill>
                  <a:srgbClr val="8C8C8C"/>
                </a:solidFill>
              </a:rPr>
              <a:pPr algn="l"/>
              <a:t>‹#›</a:t>
            </a:fld>
            <a:endParaRPr lang="en-US" sz="800" dirty="0">
              <a:solidFill>
                <a:srgbClr val="8C8C8C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2" r:id="rId2"/>
    <p:sldLayoutId id="2147483677" r:id="rId3"/>
    <p:sldLayoutId id="2147483678" r:id="rId4"/>
    <p:sldLayoutId id="2147483680" r:id="rId5"/>
    <p:sldLayoutId id="2147483681" r:id="rId6"/>
    <p:sldLayoutId id="2147483695" r:id="rId7"/>
    <p:sldLayoutId id="2147483679" r:id="rId8"/>
    <p:sldLayoutId id="2147483697" r:id="rId9"/>
    <p:sldLayoutId id="2147483682" r:id="rId10"/>
    <p:sldLayoutId id="2147483698" r:id="rId11"/>
    <p:sldLayoutId id="2147483696" r:id="rId12"/>
    <p:sldLayoutId id="2147483684" r:id="rId13"/>
    <p:sldLayoutId id="2147483691" r:id="rId14"/>
    <p:sldLayoutId id="2147483690" r:id="rId15"/>
    <p:sldLayoutId id="2147483683" r:id="rId16"/>
    <p:sldLayoutId id="2147483692" r:id="rId17"/>
    <p:sldLayoutId id="2147483685" r:id="rId18"/>
    <p:sldLayoutId id="2147483693" r:id="rId19"/>
    <p:sldLayoutId id="2147483694" r:id="rId20"/>
    <p:sldLayoutId id="2147483689" r:id="rId21"/>
    <p:sldLayoutId id="2147483699" r:id="rId22"/>
    <p:sldLayoutId id="2147483707" r:id="rId23"/>
    <p:sldLayoutId id="2147483711" r:id="rId24"/>
    <p:sldLayoutId id="2147483712" r:id="rId25"/>
  </p:sldLayoutIdLst>
  <p:transition>
    <p:fade/>
  </p:transition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buSzPct val="25000"/>
        <a:buFontTx/>
        <a:buNone/>
        <a:defRPr sz="1800" b="0" kern="1200">
          <a:solidFill>
            <a:schemeClr val="tx2"/>
          </a:solidFill>
          <a:latin typeface="+mn-lt"/>
          <a:ea typeface="+mn-ea"/>
          <a:cs typeface="+mn-cs"/>
        </a:defRPr>
      </a:lvl1pPr>
      <a:lvl2pPr marL="203200" indent="-203200" algn="l" defTabSz="914400" rtl="0" eaLnBrk="1" latinLnBrk="0" hangingPunct="1">
        <a:spcBef>
          <a:spcPts val="600"/>
        </a:spcBef>
        <a:buClrTx/>
        <a:buSzPct val="100000"/>
        <a:buFont typeface="Arial"/>
        <a:buChar char="•"/>
        <a:defRPr lang="en-US" sz="1800" kern="1200" dirty="0" smtClean="0">
          <a:solidFill>
            <a:schemeClr val="tx2"/>
          </a:solidFill>
          <a:latin typeface="+mn-lt"/>
          <a:ea typeface="+mn-ea"/>
          <a:cs typeface="+mn-cs"/>
        </a:defRPr>
      </a:lvl2pPr>
      <a:lvl3pPr marL="431800" indent="-203200" algn="l" defTabSz="914400" rtl="0" eaLnBrk="1" latinLnBrk="0" hangingPunct="1">
        <a:spcBef>
          <a:spcPts val="600"/>
        </a:spcBef>
        <a:buClrTx/>
        <a:buSzPct val="100000"/>
        <a:buFont typeface="Arial"/>
        <a:buChar char="−"/>
        <a:defRPr lang="en-US" sz="1800" kern="1200" dirty="0" smtClean="0">
          <a:solidFill>
            <a:schemeClr val="tx2"/>
          </a:solidFill>
          <a:latin typeface="+mn-lt"/>
          <a:ea typeface="+mn-ea"/>
          <a:cs typeface="+mn-cs"/>
        </a:defRPr>
      </a:lvl3pPr>
      <a:lvl4pPr marL="660400" indent="-203200" algn="l" defTabSz="914400" rtl="0" eaLnBrk="1" latinLnBrk="0" hangingPunct="1">
        <a:spcBef>
          <a:spcPts val="600"/>
        </a:spcBef>
        <a:buClrTx/>
        <a:buSzPct val="100000"/>
        <a:buFont typeface="Arial"/>
        <a:buChar char="◦"/>
        <a:defRPr lang="en-US" sz="1600" kern="1200" baseline="0" dirty="0" smtClean="0">
          <a:solidFill>
            <a:schemeClr val="tx2"/>
          </a:solidFill>
          <a:latin typeface="+mn-lt"/>
          <a:ea typeface="+mn-ea"/>
          <a:cs typeface="+mn-cs"/>
        </a:defRPr>
      </a:lvl4pPr>
      <a:lvl5pPr marL="889000" indent="-203200" algn="l" defTabSz="798513" rtl="0" eaLnBrk="1" latinLnBrk="0" hangingPunct="1">
        <a:spcBef>
          <a:spcPts val="600"/>
        </a:spcBef>
        <a:buClrTx/>
        <a:buSzPct val="100000"/>
        <a:buFont typeface="Arial"/>
        <a:buChar char="−"/>
        <a:tabLst/>
        <a:defRPr lang="en-US" sz="1600" kern="1200" baseline="0" dirty="0" smtClean="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7.png"/><Relationship Id="rId4" Type="http://schemas.openxmlformats.org/officeDocument/2006/relationships/oleObject" Target="../embeddings/oleObject4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g"/><Relationship Id="rId1" Type="http://schemas.openxmlformats.org/officeDocument/2006/relationships/slideLayout" Target="../slideLayouts/slideLayout1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5.jp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3.vml"/><Relationship Id="rId4" Type="http://schemas.openxmlformats.org/officeDocument/2006/relationships/image" Target="../media/image14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ustomXml" Target="../ink/ink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5.emf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Humanising Healthcare_Front Cover_HighResolution.jpg">
            <a:extLst>
              <a:ext uri="{FF2B5EF4-FFF2-40B4-BE49-F238E27FC236}">
                <a16:creationId xmlns:a16="http://schemas.microsoft.com/office/drawing/2014/main" id="{12DCC096-58F8-467D-90E6-88EF18DAA2E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3568" y="685800"/>
            <a:ext cx="3744416" cy="5775092"/>
          </a:xfrm>
          <a:prstGeom prst="rect">
            <a:avLst/>
          </a:prstGeom>
          <a:ln w="6350">
            <a:solidFill>
              <a:schemeClr val="accent1"/>
            </a:solidFill>
          </a:ln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8E185EDD-35E8-45BA-BF3A-D7E50BC3F2B8}"/>
              </a:ext>
            </a:extLst>
          </p:cNvPr>
          <p:cNvSpPr/>
          <p:nvPr/>
        </p:nvSpPr>
        <p:spPr bwMode="gray">
          <a:xfrm>
            <a:off x="7772400" y="76200"/>
            <a:ext cx="1524000" cy="1219200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GB" sz="1600" b="1" dirty="0">
              <a:solidFill>
                <a:schemeClr val="bg1"/>
              </a:solidFill>
            </a:endParaRPr>
          </a:p>
        </p:txBody>
      </p:sp>
      <p:pic>
        <p:nvPicPr>
          <p:cNvPr id="15362" name="Picture 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30732" y="534554"/>
            <a:ext cx="3513676" cy="10293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363" name="Rectangle 2"/>
          <p:cNvSpPr>
            <a:spLocks/>
          </p:cNvSpPr>
          <p:nvPr/>
        </p:nvSpPr>
        <p:spPr bwMode="auto">
          <a:xfrm>
            <a:off x="3851920" y="3068960"/>
            <a:ext cx="5543600" cy="1292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3600">
                <a:solidFill>
                  <a:schemeClr val="tx1"/>
                </a:solidFill>
                <a:latin typeface="GillSans" pitchFamily="-128" charset="0"/>
                <a:ea typeface="ヒラギノ角ゴ ProN W3" pitchFamily="-128" charset="-128"/>
                <a:sym typeface="GillSans" pitchFamily="-128" charset="0"/>
              </a:defRPr>
            </a:lvl1pPr>
            <a:lvl2pPr marL="742950" indent="-285750" eaLnBrk="0" hangingPunct="0">
              <a:defRPr sz="3600">
                <a:solidFill>
                  <a:schemeClr val="tx1"/>
                </a:solidFill>
                <a:latin typeface="GillSans" pitchFamily="-128" charset="0"/>
                <a:ea typeface="ヒラギノ角ゴ ProN W3" pitchFamily="-128" charset="-128"/>
                <a:sym typeface="GillSans" pitchFamily="-128" charset="0"/>
              </a:defRPr>
            </a:lvl2pPr>
            <a:lvl3pPr marL="1143000" indent="-228600" eaLnBrk="0" hangingPunct="0">
              <a:defRPr sz="3600">
                <a:solidFill>
                  <a:schemeClr val="tx1"/>
                </a:solidFill>
                <a:latin typeface="GillSans" pitchFamily="-128" charset="0"/>
                <a:ea typeface="ヒラギノ角ゴ ProN W3" pitchFamily="-128" charset="-128"/>
                <a:sym typeface="GillSans" pitchFamily="-128" charset="0"/>
              </a:defRPr>
            </a:lvl3pPr>
            <a:lvl4pPr marL="1600200" indent="-228600" eaLnBrk="0" hangingPunct="0">
              <a:defRPr sz="3600">
                <a:solidFill>
                  <a:schemeClr val="tx1"/>
                </a:solidFill>
                <a:latin typeface="GillSans" pitchFamily="-128" charset="0"/>
                <a:ea typeface="ヒラギノ角ゴ ProN W3" pitchFamily="-128" charset="-128"/>
                <a:sym typeface="GillSans" pitchFamily="-128" charset="0"/>
              </a:defRPr>
            </a:lvl4pPr>
            <a:lvl5pPr marL="2057400" indent="-228600" eaLnBrk="0" hangingPunct="0">
              <a:defRPr sz="3600">
                <a:solidFill>
                  <a:schemeClr val="tx1"/>
                </a:solidFill>
                <a:latin typeface="GillSans" pitchFamily="-128" charset="0"/>
                <a:ea typeface="ヒラギノ角ゴ ProN W3" pitchFamily="-128" charset="-128"/>
                <a:sym typeface="GillSans" pitchFamily="-128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GillSans" pitchFamily="-128" charset="0"/>
                <a:ea typeface="ヒラギノ角ゴ ProN W3" pitchFamily="-128" charset="-128"/>
                <a:sym typeface="GillSans" pitchFamily="-128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GillSans" pitchFamily="-128" charset="0"/>
                <a:ea typeface="ヒラギノ角ゴ ProN W3" pitchFamily="-128" charset="-128"/>
                <a:sym typeface="GillSans" pitchFamily="-128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GillSans" pitchFamily="-128" charset="0"/>
                <a:ea typeface="ヒラギノ角ゴ ProN W3" pitchFamily="-128" charset="-128"/>
                <a:sym typeface="GillSans" pitchFamily="-128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GillSans" pitchFamily="-128" charset="0"/>
                <a:ea typeface="ヒラギノ角ゴ ProN W3" pitchFamily="-128" charset="-128"/>
                <a:sym typeface="GillSans" pitchFamily="-128" charset="0"/>
              </a:defRPr>
            </a:lvl9pPr>
          </a:lstStyle>
          <a:p>
            <a:pPr algn="ctr" eaLnBrk="1" hangingPunct="1"/>
            <a:r>
              <a:rPr lang="en-GB" sz="2800" dirty="0">
                <a:solidFill>
                  <a:srgbClr val="3165BB"/>
                </a:solidFill>
              </a:rPr>
              <a:t>Edinburgh Community </a:t>
            </a:r>
          </a:p>
          <a:p>
            <a:pPr algn="ctr" eaLnBrk="1" hangingPunct="1"/>
            <a:r>
              <a:rPr lang="en-GB" sz="2800" dirty="0">
                <a:solidFill>
                  <a:srgbClr val="3165BB"/>
                </a:solidFill>
              </a:rPr>
              <a:t>Health Forum</a:t>
            </a:r>
          </a:p>
          <a:p>
            <a:pPr algn="ctr" eaLnBrk="1" hangingPunct="1"/>
            <a:r>
              <a:rPr lang="en-US" altLang="en-US" sz="2800" dirty="0">
                <a:solidFill>
                  <a:srgbClr val="2B65AD"/>
                </a:solidFill>
                <a:latin typeface="GillSans Light" pitchFamily="-128" charset="0"/>
                <a:sym typeface="GillSans Light" pitchFamily="-128" charset="0"/>
              </a:rPr>
              <a:t>27</a:t>
            </a:r>
            <a:r>
              <a:rPr lang="en-US" altLang="en-US" sz="2800" baseline="30000" dirty="0">
                <a:solidFill>
                  <a:srgbClr val="2B65AD"/>
                </a:solidFill>
                <a:latin typeface="GillSans Light" pitchFamily="-128" charset="0"/>
                <a:sym typeface="GillSans Light" pitchFamily="-128" charset="0"/>
              </a:rPr>
              <a:t>th</a:t>
            </a:r>
            <a:r>
              <a:rPr lang="en-US" altLang="en-US" sz="2800" dirty="0">
                <a:solidFill>
                  <a:srgbClr val="2B65AD"/>
                </a:solidFill>
                <a:latin typeface="GillSans Light" pitchFamily="-128" charset="0"/>
                <a:sym typeface="GillSans Light" pitchFamily="-128" charset="0"/>
              </a:rPr>
              <a:t> August 2019</a:t>
            </a:r>
          </a:p>
        </p:txBody>
      </p:sp>
      <p:sp>
        <p:nvSpPr>
          <p:cNvPr id="15364" name="Line 3"/>
          <p:cNvSpPr>
            <a:spLocks noChangeShapeType="1"/>
          </p:cNvSpPr>
          <p:nvPr/>
        </p:nvSpPr>
        <p:spPr bwMode="auto">
          <a:xfrm rot="10800000" flipH="1">
            <a:off x="5076056" y="1772816"/>
            <a:ext cx="2764904" cy="0"/>
          </a:xfrm>
          <a:prstGeom prst="line">
            <a:avLst/>
          </a:prstGeom>
          <a:noFill/>
          <a:ln w="38100">
            <a:solidFill>
              <a:srgbClr val="1552A3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64291" tIns="32146" rIns="64291" bIns="32146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05458678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 bwMode="gray">
          <a:xfrm>
            <a:off x="866423" y="2282575"/>
            <a:ext cx="1485758" cy="366102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GB" sz="1600" b="1" dirty="0">
              <a:solidFill>
                <a:schemeClr val="bg1"/>
              </a:solidFill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4294967295"/>
          </p:nvPr>
        </p:nvSpPr>
        <p:spPr>
          <a:xfrm>
            <a:off x="304800" y="782638"/>
            <a:ext cx="7513638" cy="757237"/>
          </a:xfrm>
        </p:spPr>
        <p:txBody>
          <a:bodyPr/>
          <a:lstStyle/>
          <a:p>
            <a:r>
              <a:rPr lang="en-US" sz="2400" dirty="0">
                <a:solidFill>
                  <a:schemeClr val="tx1"/>
                </a:solidFill>
              </a:rPr>
              <a:t>A transformative innovation system that contains three ways of acting in and seeing the world.</a:t>
            </a:r>
          </a:p>
          <a:p>
            <a:endParaRPr lang="en-US" sz="2400" dirty="0"/>
          </a:p>
        </p:txBody>
      </p:sp>
      <p:sp>
        <p:nvSpPr>
          <p:cNvPr id="3" name="Title 2"/>
          <p:cNvSpPr>
            <a:spLocks noGrp="1"/>
          </p:cNvSpPr>
          <p:nvPr>
            <p:ph type="title" idx="4294967295"/>
          </p:nvPr>
        </p:nvSpPr>
        <p:spPr>
          <a:xfrm>
            <a:off x="304800" y="295275"/>
            <a:ext cx="8108950" cy="469900"/>
          </a:xfrm>
        </p:spPr>
        <p:txBody>
          <a:bodyPr/>
          <a:lstStyle/>
          <a:p>
            <a:r>
              <a:rPr lang="en-US" sz="3200" b="1" dirty="0">
                <a:solidFill>
                  <a:srgbClr val="3165BB"/>
                </a:solidFill>
                <a:latin typeface="GillSans Light"/>
              </a:rPr>
              <a:t>Three Horizons: Bringing it Together</a:t>
            </a:r>
          </a:p>
        </p:txBody>
      </p:sp>
      <p:grpSp>
        <p:nvGrpSpPr>
          <p:cNvPr id="61" name="Group 60"/>
          <p:cNvGrpSpPr/>
          <p:nvPr/>
        </p:nvGrpSpPr>
        <p:grpSpPr>
          <a:xfrm>
            <a:off x="1280160" y="2143125"/>
            <a:ext cx="6583680" cy="3352800"/>
            <a:chOff x="685800" y="2286000"/>
            <a:chExt cx="6583680" cy="3352800"/>
          </a:xfrm>
        </p:grpSpPr>
        <p:cxnSp>
          <p:nvCxnSpPr>
            <p:cNvPr id="62" name="Straight Arrow Connector 61"/>
            <p:cNvCxnSpPr/>
            <p:nvPr/>
          </p:nvCxnSpPr>
          <p:spPr>
            <a:xfrm>
              <a:off x="685800" y="2286000"/>
              <a:ext cx="0" cy="3352800"/>
            </a:xfrm>
            <a:prstGeom prst="straightConnector1">
              <a:avLst/>
            </a:prstGeom>
            <a:ln>
              <a:solidFill>
                <a:schemeClr val="bg2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Arrow Connector 62"/>
            <p:cNvCxnSpPr/>
            <p:nvPr/>
          </p:nvCxnSpPr>
          <p:spPr>
            <a:xfrm flipH="1" flipV="1">
              <a:off x="685800" y="5638800"/>
              <a:ext cx="6583680" cy="0"/>
            </a:xfrm>
            <a:prstGeom prst="straightConnector1">
              <a:avLst/>
            </a:prstGeom>
            <a:ln>
              <a:solidFill>
                <a:schemeClr val="bg2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4" name="Text Placeholder 3"/>
          <p:cNvSpPr txBox="1">
            <a:spLocks/>
          </p:cNvSpPr>
          <p:nvPr/>
        </p:nvSpPr>
        <p:spPr bwMode="gray">
          <a:xfrm>
            <a:off x="646009" y="2128687"/>
            <a:ext cx="440826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buSzPct val="25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03200" indent="-203200" algn="l" defTabSz="914400" rtl="0" eaLnBrk="1" latinLnBrk="0" hangingPunct="1">
              <a:spcBef>
                <a:spcPts val="600"/>
              </a:spcBef>
              <a:buClrTx/>
              <a:buSzPct val="100000"/>
              <a:buFont typeface="Arial"/>
              <a:buChar char="•"/>
              <a:defRPr lang="en-US" sz="18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431800" indent="-203200" algn="l" defTabSz="914400" rtl="0" eaLnBrk="1" latinLnBrk="0" hangingPunct="1">
              <a:spcBef>
                <a:spcPts val="600"/>
              </a:spcBef>
              <a:buClrTx/>
              <a:buSzPct val="100000"/>
              <a:buFont typeface="Arial"/>
              <a:buChar char="−"/>
              <a:defRPr lang="en-US" sz="18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660400" indent="-203200" algn="l" defTabSz="914400" rtl="0" eaLnBrk="1" latinLnBrk="0" hangingPunct="1">
              <a:spcBef>
                <a:spcPts val="600"/>
              </a:spcBef>
              <a:buClrTx/>
              <a:buSzPct val="100000"/>
              <a:buFont typeface="Arial"/>
              <a:buChar char="◦"/>
              <a:defRPr lang="en-US" sz="16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89000" indent="-203200" algn="l" defTabSz="798513" rtl="0" eaLnBrk="1" latinLnBrk="0" hangingPunct="1">
              <a:spcBef>
                <a:spcPts val="600"/>
              </a:spcBef>
              <a:buClrTx/>
              <a:buSzPct val="100000"/>
              <a:buFont typeface="Arial"/>
              <a:buChar char="−"/>
              <a:tabLst/>
              <a:defRPr lang="en-US" sz="16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1" dirty="0"/>
              <a:t>Pattern</a:t>
            </a:r>
          </a:p>
        </p:txBody>
      </p:sp>
      <p:sp>
        <p:nvSpPr>
          <p:cNvPr id="65" name="Text Placeholder 3"/>
          <p:cNvSpPr txBox="1">
            <a:spLocks/>
          </p:cNvSpPr>
          <p:nvPr/>
        </p:nvSpPr>
        <p:spPr bwMode="gray">
          <a:xfrm>
            <a:off x="7442432" y="5646978"/>
            <a:ext cx="298160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buSzPct val="25000"/>
              <a:buFont typeface="Arial" panose="020B0604020202020204" pitchFamily="34" charset="0"/>
              <a:buChar char="‏"/>
              <a:defRPr sz="18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03200" indent="-203200" algn="l" defTabSz="914400" rtl="0" eaLnBrk="1" latinLnBrk="0" hangingPunct="1">
              <a:spcBef>
                <a:spcPts val="600"/>
              </a:spcBef>
              <a:buClrTx/>
              <a:buSzPct val="100000"/>
              <a:buFont typeface="Arial"/>
              <a:buChar char="•"/>
              <a:defRPr lang="en-US" sz="18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431800" indent="-203200" algn="l" defTabSz="914400" rtl="0" eaLnBrk="1" latinLnBrk="0" hangingPunct="1">
              <a:spcBef>
                <a:spcPts val="600"/>
              </a:spcBef>
              <a:buClrTx/>
              <a:buSzPct val="100000"/>
              <a:buFont typeface="Arial"/>
              <a:buChar char="−"/>
              <a:defRPr lang="en-US" sz="18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660400" indent="-203200" algn="l" defTabSz="914400" rtl="0" eaLnBrk="1" latinLnBrk="0" hangingPunct="1">
              <a:spcBef>
                <a:spcPts val="600"/>
              </a:spcBef>
              <a:buClrTx/>
              <a:buSzPct val="100000"/>
              <a:buFont typeface="Arial"/>
              <a:buChar char="◦"/>
              <a:defRPr lang="en-US" sz="16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89000" indent="-203200" algn="l" defTabSz="798513" rtl="0" eaLnBrk="1" latinLnBrk="0" hangingPunct="1">
              <a:spcBef>
                <a:spcPts val="600"/>
              </a:spcBef>
              <a:buClrTx/>
              <a:buSzPct val="100000"/>
              <a:buFont typeface="Arial"/>
              <a:buChar char="−"/>
              <a:tabLst/>
              <a:defRPr lang="en-US" sz="16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Font typeface="Arial" panose="020B0604020202020204" pitchFamily="34" charset="0"/>
              <a:buNone/>
            </a:pPr>
            <a:r>
              <a:rPr lang="en-US" sz="1000" b="1" dirty="0"/>
              <a:t>Time</a:t>
            </a:r>
          </a:p>
        </p:txBody>
      </p:sp>
      <p:sp>
        <p:nvSpPr>
          <p:cNvPr id="66" name="Freeform 65"/>
          <p:cNvSpPr/>
          <p:nvPr/>
        </p:nvSpPr>
        <p:spPr bwMode="gray">
          <a:xfrm>
            <a:off x="1272209" y="2570508"/>
            <a:ext cx="6192078" cy="2534478"/>
          </a:xfrm>
          <a:custGeom>
            <a:avLst/>
            <a:gdLst>
              <a:gd name="connsiteX0" fmla="*/ 0 w 6192078"/>
              <a:gd name="connsiteY0" fmla="*/ 0 h 2534478"/>
              <a:gd name="connsiteX1" fmla="*/ 3160643 w 6192078"/>
              <a:gd name="connsiteY1" fmla="*/ 1341782 h 2534478"/>
              <a:gd name="connsiteX2" fmla="*/ 6192078 w 6192078"/>
              <a:gd name="connsiteY2" fmla="*/ 2534478 h 25344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192078" h="2534478">
                <a:moveTo>
                  <a:pt x="0" y="0"/>
                </a:moveTo>
                <a:lnTo>
                  <a:pt x="3160643" y="1341782"/>
                </a:lnTo>
                <a:cubicBezTo>
                  <a:pt x="4192656" y="1764195"/>
                  <a:pt x="5685182" y="2054087"/>
                  <a:pt x="6192078" y="2534478"/>
                </a:cubicBezTo>
              </a:path>
            </a:pathLst>
          </a:custGeom>
          <a:noFill/>
          <a:ln w="19050" algn="ctr">
            <a:noFill/>
            <a:miter lim="800000"/>
            <a:headEnd/>
            <a:tailEnd/>
          </a:ln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Freeform 66"/>
          <p:cNvSpPr/>
          <p:nvPr/>
        </p:nvSpPr>
        <p:spPr bwMode="gray">
          <a:xfrm>
            <a:off x="1292087" y="2494916"/>
            <a:ext cx="6416784" cy="2703889"/>
          </a:xfrm>
          <a:custGeom>
            <a:avLst/>
            <a:gdLst>
              <a:gd name="connsiteX0" fmla="*/ 0 w 6416784"/>
              <a:gd name="connsiteY0" fmla="*/ 125287 h 2703889"/>
              <a:gd name="connsiteX1" fmla="*/ 1043609 w 6416784"/>
              <a:gd name="connsiteY1" fmla="*/ 125287 h 2703889"/>
              <a:gd name="connsiteX2" fmla="*/ 3120887 w 6416784"/>
              <a:gd name="connsiteY2" fmla="*/ 1427313 h 2703889"/>
              <a:gd name="connsiteX3" fmla="*/ 5178287 w 6416784"/>
              <a:gd name="connsiteY3" fmla="*/ 2500739 h 2703889"/>
              <a:gd name="connsiteX4" fmla="*/ 6202017 w 6416784"/>
              <a:gd name="connsiteY4" fmla="*/ 2610070 h 27038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416784" h="2703889">
                <a:moveTo>
                  <a:pt x="0" y="125287"/>
                </a:moveTo>
                <a:cubicBezTo>
                  <a:pt x="261730" y="16785"/>
                  <a:pt x="523461" y="-91717"/>
                  <a:pt x="1043609" y="125287"/>
                </a:cubicBezTo>
                <a:cubicBezTo>
                  <a:pt x="1563757" y="342291"/>
                  <a:pt x="2431774" y="1031404"/>
                  <a:pt x="3120887" y="1427313"/>
                </a:cubicBezTo>
                <a:cubicBezTo>
                  <a:pt x="3810000" y="1823222"/>
                  <a:pt x="4664765" y="2303613"/>
                  <a:pt x="5178287" y="2500739"/>
                </a:cubicBezTo>
                <a:cubicBezTo>
                  <a:pt x="5691809" y="2697865"/>
                  <a:pt x="6907695" y="2784005"/>
                  <a:pt x="6202017" y="2610070"/>
                </a:cubicBezTo>
              </a:path>
            </a:pathLst>
          </a:custGeom>
          <a:noFill/>
          <a:ln w="19050" algn="ctr">
            <a:noFill/>
            <a:miter lim="800000"/>
            <a:headEnd/>
            <a:tailEnd/>
          </a:ln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Freeform 67"/>
          <p:cNvSpPr/>
          <p:nvPr/>
        </p:nvSpPr>
        <p:spPr bwMode="gray">
          <a:xfrm>
            <a:off x="1295400" y="2504435"/>
            <a:ext cx="6172200" cy="2620429"/>
          </a:xfrm>
          <a:custGeom>
            <a:avLst/>
            <a:gdLst>
              <a:gd name="connsiteX0" fmla="*/ 0 w 6172200"/>
              <a:gd name="connsiteY0" fmla="*/ 170356 h 2694895"/>
              <a:gd name="connsiteX1" fmla="*/ 1003853 w 6172200"/>
              <a:gd name="connsiteY1" fmla="*/ 100782 h 2694895"/>
              <a:gd name="connsiteX2" fmla="*/ 2872409 w 6172200"/>
              <a:gd name="connsiteY2" fmla="*/ 1363052 h 2694895"/>
              <a:gd name="connsiteX3" fmla="*/ 4721087 w 6172200"/>
              <a:gd name="connsiteY3" fmla="*/ 2436478 h 2694895"/>
              <a:gd name="connsiteX4" fmla="*/ 6172200 w 6172200"/>
              <a:gd name="connsiteY4" fmla="*/ 2694895 h 2694895"/>
              <a:gd name="connsiteX0" fmla="*/ 0 w 6172200"/>
              <a:gd name="connsiteY0" fmla="*/ 95890 h 2620429"/>
              <a:gd name="connsiteX1" fmla="*/ 1143000 w 6172200"/>
              <a:gd name="connsiteY1" fmla="*/ 155525 h 2620429"/>
              <a:gd name="connsiteX2" fmla="*/ 2872409 w 6172200"/>
              <a:gd name="connsiteY2" fmla="*/ 1288586 h 2620429"/>
              <a:gd name="connsiteX3" fmla="*/ 4721087 w 6172200"/>
              <a:gd name="connsiteY3" fmla="*/ 2362012 h 2620429"/>
              <a:gd name="connsiteX4" fmla="*/ 6172200 w 6172200"/>
              <a:gd name="connsiteY4" fmla="*/ 2620429 h 26204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72200" h="2620429">
                <a:moveTo>
                  <a:pt x="0" y="95890"/>
                </a:moveTo>
                <a:cubicBezTo>
                  <a:pt x="262559" y="-38289"/>
                  <a:pt x="664265" y="-43258"/>
                  <a:pt x="1143000" y="155525"/>
                </a:cubicBezTo>
                <a:cubicBezTo>
                  <a:pt x="1621735" y="354308"/>
                  <a:pt x="2276061" y="920838"/>
                  <a:pt x="2872409" y="1288586"/>
                </a:cubicBezTo>
                <a:cubicBezTo>
                  <a:pt x="3468757" y="1656334"/>
                  <a:pt x="4171122" y="2140038"/>
                  <a:pt x="4721087" y="2362012"/>
                </a:cubicBezTo>
                <a:cubicBezTo>
                  <a:pt x="5271052" y="2583986"/>
                  <a:pt x="5923722" y="2593925"/>
                  <a:pt x="6172200" y="2620429"/>
                </a:cubicBezTo>
              </a:path>
            </a:pathLst>
          </a:custGeom>
          <a:noFill/>
          <a:ln w="38100" algn="ctr">
            <a:solidFill>
              <a:srgbClr val="C00000"/>
            </a:solidFill>
            <a:miter lim="800000"/>
            <a:headEnd/>
            <a:tailEnd/>
          </a:ln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9" name="Freeform 68"/>
          <p:cNvSpPr/>
          <p:nvPr/>
        </p:nvSpPr>
        <p:spPr bwMode="gray">
          <a:xfrm>
            <a:off x="1295400" y="2727660"/>
            <a:ext cx="6112565" cy="1756891"/>
          </a:xfrm>
          <a:custGeom>
            <a:avLst/>
            <a:gdLst>
              <a:gd name="connsiteX0" fmla="*/ 0 w 6112565"/>
              <a:gd name="connsiteY0" fmla="*/ 1764819 h 1789114"/>
              <a:gd name="connsiteX1" fmla="*/ 834887 w 6112565"/>
              <a:gd name="connsiteY1" fmla="*/ 1546158 h 1789114"/>
              <a:gd name="connsiteX2" fmla="*/ 2941982 w 6112565"/>
              <a:gd name="connsiteY2" fmla="*/ 15532 h 1789114"/>
              <a:gd name="connsiteX3" fmla="*/ 4363278 w 6112565"/>
              <a:gd name="connsiteY3" fmla="*/ 780845 h 1789114"/>
              <a:gd name="connsiteX4" fmla="*/ 6112565 w 6112565"/>
              <a:gd name="connsiteY4" fmla="*/ 1208227 h 1789114"/>
              <a:gd name="connsiteX0" fmla="*/ 0 w 6112565"/>
              <a:gd name="connsiteY0" fmla="*/ 1769668 h 1793963"/>
              <a:gd name="connsiteX1" fmla="*/ 834887 w 6112565"/>
              <a:gd name="connsiteY1" fmla="*/ 1551007 h 1793963"/>
              <a:gd name="connsiteX2" fmla="*/ 2941982 w 6112565"/>
              <a:gd name="connsiteY2" fmla="*/ 20381 h 1793963"/>
              <a:gd name="connsiteX3" fmla="*/ 4462669 w 6112565"/>
              <a:gd name="connsiteY3" fmla="*/ 706181 h 1793963"/>
              <a:gd name="connsiteX4" fmla="*/ 6112565 w 6112565"/>
              <a:gd name="connsiteY4" fmla="*/ 1213076 h 1793963"/>
              <a:gd name="connsiteX0" fmla="*/ 0 w 6112565"/>
              <a:gd name="connsiteY0" fmla="*/ 1760498 h 1784793"/>
              <a:gd name="connsiteX1" fmla="*/ 834887 w 6112565"/>
              <a:gd name="connsiteY1" fmla="*/ 1541837 h 1784793"/>
              <a:gd name="connsiteX2" fmla="*/ 2941982 w 6112565"/>
              <a:gd name="connsiteY2" fmla="*/ 11211 h 1784793"/>
              <a:gd name="connsiteX3" fmla="*/ 4899991 w 6112565"/>
              <a:gd name="connsiteY3" fmla="*/ 865976 h 1784793"/>
              <a:gd name="connsiteX4" fmla="*/ 6112565 w 6112565"/>
              <a:gd name="connsiteY4" fmla="*/ 1203906 h 1784793"/>
              <a:gd name="connsiteX0" fmla="*/ 0 w 6112565"/>
              <a:gd name="connsiteY0" fmla="*/ 1753370 h 1756891"/>
              <a:gd name="connsiteX1" fmla="*/ 1162878 w 6112565"/>
              <a:gd name="connsiteY1" fmla="*/ 1246475 h 1756891"/>
              <a:gd name="connsiteX2" fmla="*/ 2941982 w 6112565"/>
              <a:gd name="connsiteY2" fmla="*/ 4083 h 1756891"/>
              <a:gd name="connsiteX3" fmla="*/ 4899991 w 6112565"/>
              <a:gd name="connsiteY3" fmla="*/ 858848 h 1756891"/>
              <a:gd name="connsiteX4" fmla="*/ 6112565 w 6112565"/>
              <a:gd name="connsiteY4" fmla="*/ 1196778 h 17568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12565" h="1756891">
                <a:moveTo>
                  <a:pt x="0" y="1753370"/>
                </a:moveTo>
                <a:cubicBezTo>
                  <a:pt x="172278" y="1789813"/>
                  <a:pt x="672548" y="1538023"/>
                  <a:pt x="1162878" y="1246475"/>
                </a:cubicBezTo>
                <a:cubicBezTo>
                  <a:pt x="1653208" y="954927"/>
                  <a:pt x="2319130" y="68687"/>
                  <a:pt x="2941982" y="4083"/>
                </a:cubicBezTo>
                <a:cubicBezTo>
                  <a:pt x="3564834" y="-60521"/>
                  <a:pt x="4371561" y="660065"/>
                  <a:pt x="4899991" y="858848"/>
                </a:cubicBezTo>
                <a:cubicBezTo>
                  <a:pt x="5428422" y="1057630"/>
                  <a:pt x="5502137" y="1082478"/>
                  <a:pt x="6112565" y="1196778"/>
                </a:cubicBezTo>
              </a:path>
            </a:pathLst>
          </a:custGeom>
          <a:noFill/>
          <a:ln w="38100" algn="ctr">
            <a:solidFill>
              <a:srgbClr val="3165BB"/>
            </a:solidFill>
            <a:miter lim="800000"/>
            <a:headEnd/>
            <a:tailEnd/>
          </a:ln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0" name="Freeform 69"/>
          <p:cNvSpPr/>
          <p:nvPr/>
        </p:nvSpPr>
        <p:spPr bwMode="gray">
          <a:xfrm>
            <a:off x="1311965" y="2471116"/>
            <a:ext cx="5307496" cy="2667113"/>
          </a:xfrm>
          <a:custGeom>
            <a:avLst/>
            <a:gdLst>
              <a:gd name="connsiteX0" fmla="*/ 0 w 5307496"/>
              <a:gd name="connsiteY0" fmla="*/ 2653748 h 2667113"/>
              <a:gd name="connsiteX1" fmla="*/ 1391478 w 5307496"/>
              <a:gd name="connsiteY1" fmla="*/ 2494722 h 2667113"/>
              <a:gd name="connsiteX2" fmla="*/ 3120887 w 5307496"/>
              <a:gd name="connsiteY2" fmla="*/ 1441174 h 2667113"/>
              <a:gd name="connsiteX3" fmla="*/ 5307496 w 5307496"/>
              <a:gd name="connsiteY3" fmla="*/ 0 h 26671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07496" h="2667113">
                <a:moveTo>
                  <a:pt x="0" y="2653748"/>
                </a:moveTo>
                <a:cubicBezTo>
                  <a:pt x="435665" y="2675283"/>
                  <a:pt x="871330" y="2696818"/>
                  <a:pt x="1391478" y="2494722"/>
                </a:cubicBezTo>
                <a:cubicBezTo>
                  <a:pt x="1911626" y="2292626"/>
                  <a:pt x="2468217" y="1856961"/>
                  <a:pt x="3120887" y="1441174"/>
                </a:cubicBezTo>
                <a:cubicBezTo>
                  <a:pt x="3773557" y="1025387"/>
                  <a:pt x="4967909" y="253448"/>
                  <a:pt x="5307496" y="0"/>
                </a:cubicBezTo>
              </a:path>
            </a:pathLst>
          </a:custGeom>
          <a:noFill/>
          <a:ln w="19050" algn="ctr">
            <a:noFill/>
            <a:miter lim="800000"/>
            <a:headEnd/>
            <a:tailEnd/>
          </a:ln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1" name="Freeform 70"/>
          <p:cNvSpPr/>
          <p:nvPr/>
        </p:nvSpPr>
        <p:spPr bwMode="gray">
          <a:xfrm>
            <a:off x="1295400" y="2143125"/>
            <a:ext cx="6142382" cy="2819400"/>
          </a:xfrm>
          <a:custGeom>
            <a:avLst/>
            <a:gdLst>
              <a:gd name="connsiteX0" fmla="*/ 0 w 6102626"/>
              <a:gd name="connsiteY0" fmla="*/ 2655022 h 2655022"/>
              <a:gd name="connsiteX1" fmla="*/ 1431235 w 6102626"/>
              <a:gd name="connsiteY1" fmla="*/ 2456240 h 2655022"/>
              <a:gd name="connsiteX2" fmla="*/ 2872408 w 6102626"/>
              <a:gd name="connsiteY2" fmla="*/ 1651170 h 2655022"/>
              <a:gd name="connsiteX3" fmla="*/ 4164495 w 6102626"/>
              <a:gd name="connsiteY3" fmla="*/ 518109 h 2655022"/>
              <a:gd name="connsiteX4" fmla="*/ 5426765 w 6102626"/>
              <a:gd name="connsiteY4" fmla="*/ 80788 h 2655022"/>
              <a:gd name="connsiteX5" fmla="*/ 6102626 w 6102626"/>
              <a:gd name="connsiteY5" fmla="*/ 1275 h 2655022"/>
              <a:gd name="connsiteX0" fmla="*/ 0 w 6102626"/>
              <a:gd name="connsiteY0" fmla="*/ 2654391 h 2654391"/>
              <a:gd name="connsiteX1" fmla="*/ 1431235 w 6102626"/>
              <a:gd name="connsiteY1" fmla="*/ 2455609 h 2654391"/>
              <a:gd name="connsiteX2" fmla="*/ 2872408 w 6102626"/>
              <a:gd name="connsiteY2" fmla="*/ 1650539 h 2654391"/>
              <a:gd name="connsiteX3" fmla="*/ 4164495 w 6102626"/>
              <a:gd name="connsiteY3" fmla="*/ 517478 h 2654391"/>
              <a:gd name="connsiteX4" fmla="*/ 5227982 w 6102626"/>
              <a:gd name="connsiteY4" fmla="*/ 90096 h 2654391"/>
              <a:gd name="connsiteX5" fmla="*/ 6102626 w 6102626"/>
              <a:gd name="connsiteY5" fmla="*/ 644 h 26543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102626" h="2654391">
                <a:moveTo>
                  <a:pt x="0" y="2654391"/>
                </a:moveTo>
                <a:cubicBezTo>
                  <a:pt x="476250" y="2638654"/>
                  <a:pt x="952500" y="2622918"/>
                  <a:pt x="1431235" y="2455609"/>
                </a:cubicBezTo>
                <a:cubicBezTo>
                  <a:pt x="1909970" y="2288300"/>
                  <a:pt x="2416865" y="1973561"/>
                  <a:pt x="2872408" y="1650539"/>
                </a:cubicBezTo>
                <a:cubicBezTo>
                  <a:pt x="3327951" y="1327517"/>
                  <a:pt x="3771899" y="777552"/>
                  <a:pt x="4164495" y="517478"/>
                </a:cubicBezTo>
                <a:cubicBezTo>
                  <a:pt x="4557091" y="257404"/>
                  <a:pt x="4904960" y="176235"/>
                  <a:pt x="5227982" y="90096"/>
                </a:cubicBezTo>
                <a:cubicBezTo>
                  <a:pt x="5551004" y="3957"/>
                  <a:pt x="5926206" y="-2669"/>
                  <a:pt x="6102626" y="644"/>
                </a:cubicBezTo>
              </a:path>
            </a:pathLst>
          </a:custGeom>
          <a:noFill/>
          <a:ln w="38100" algn="ctr">
            <a:solidFill>
              <a:srgbClr val="177D36"/>
            </a:solidFill>
            <a:miter lim="800000"/>
            <a:headEnd/>
            <a:tailEnd/>
          </a:ln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2" name="TextBox 71"/>
          <p:cNvSpPr txBox="1"/>
          <p:nvPr/>
        </p:nvSpPr>
        <p:spPr>
          <a:xfrm>
            <a:off x="1345095" y="4097228"/>
            <a:ext cx="326682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1200"/>
              </a:spcBef>
              <a:buSzPct val="25000"/>
            </a:pPr>
            <a:r>
              <a:rPr lang="en-US" sz="1400" b="1" dirty="0">
                <a:solidFill>
                  <a:srgbClr val="3165BB"/>
                </a:solidFill>
              </a:rPr>
              <a:t>H2</a:t>
            </a:r>
          </a:p>
        </p:txBody>
      </p:sp>
      <p:sp>
        <p:nvSpPr>
          <p:cNvPr id="73" name="TextBox 72"/>
          <p:cNvSpPr txBox="1"/>
          <p:nvPr/>
        </p:nvSpPr>
        <p:spPr>
          <a:xfrm>
            <a:off x="1345095" y="5086347"/>
            <a:ext cx="326682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1200"/>
              </a:spcBef>
              <a:buSzPct val="25000"/>
            </a:pPr>
            <a:r>
              <a:rPr lang="en-US" sz="1400" b="1" dirty="0">
                <a:solidFill>
                  <a:srgbClr val="177D36"/>
                </a:solidFill>
              </a:rPr>
              <a:t>H3</a:t>
            </a:r>
          </a:p>
        </p:txBody>
      </p:sp>
      <p:sp>
        <p:nvSpPr>
          <p:cNvPr id="75" name="TextBox 74"/>
          <p:cNvSpPr txBox="1"/>
          <p:nvPr/>
        </p:nvSpPr>
        <p:spPr>
          <a:xfrm>
            <a:off x="1345095" y="2694417"/>
            <a:ext cx="326682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1200"/>
              </a:spcBef>
              <a:buSzPct val="25000"/>
            </a:pPr>
            <a:r>
              <a:rPr lang="en-US" sz="1400" b="1" dirty="0">
                <a:solidFill>
                  <a:srgbClr val="C00000"/>
                </a:solidFill>
              </a:rPr>
              <a:t>H1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894365" y="4523601"/>
            <a:ext cx="2610835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1200"/>
              </a:spcBef>
              <a:buSzPct val="25000"/>
            </a:pPr>
            <a:r>
              <a:rPr lang="en-GB" b="1" dirty="0">
                <a:solidFill>
                  <a:schemeClr val="tx2"/>
                </a:solidFill>
              </a:rPr>
              <a:t>Entrepreneur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1046765" y="3013501"/>
            <a:ext cx="2610835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1200"/>
              </a:spcBef>
              <a:buSzPct val="25000"/>
            </a:pPr>
            <a:r>
              <a:rPr lang="en-GB" b="1" dirty="0">
                <a:solidFill>
                  <a:schemeClr val="tx2"/>
                </a:solidFill>
              </a:rPr>
              <a:t>Manager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1046764" y="5514201"/>
            <a:ext cx="2610835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1200"/>
              </a:spcBef>
              <a:buSzPct val="25000"/>
            </a:pPr>
            <a:r>
              <a:rPr lang="en-GB" b="1" dirty="0">
                <a:solidFill>
                  <a:schemeClr val="tx2"/>
                </a:solidFill>
              </a:rPr>
              <a:t>Visionary</a:t>
            </a:r>
          </a:p>
        </p:txBody>
      </p:sp>
    </p:spTree>
    <p:extLst>
      <p:ext uri="{BB962C8B-B14F-4D97-AF65-F5344CB8AC3E}">
        <p14:creationId xmlns:p14="http://schemas.microsoft.com/office/powerpoint/2010/main" val="279828290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/>
      <p:bldP spid="26" grpId="0"/>
      <p:bldP spid="27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38" name="Picture 1">
            <a:extLst>
              <a:ext uri="{FF2B5EF4-FFF2-40B4-BE49-F238E27FC236}">
                <a16:creationId xmlns:a16="http://schemas.microsoft.com/office/drawing/2014/main" id="{218613F9-8DAA-4CEB-9784-E325132E2F5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95263"/>
            <a:ext cx="9144000" cy="6467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1380" name="Object 4"/>
          <p:cNvGraphicFramePr>
            <a:graphicFrameLocks noChangeAspect="1"/>
          </p:cNvGraphicFramePr>
          <p:nvPr/>
        </p:nvGraphicFramePr>
        <p:xfrm>
          <a:off x="0" y="196850"/>
          <a:ext cx="9144000" cy="64643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9" name="Acrobat Document" r:id="rId4" imgW="11342857" imgH="8019048" progId="AcroExch.Document.11">
                  <p:embed/>
                </p:oleObj>
              </mc:Choice>
              <mc:Fallback>
                <p:oleObj name="Acrobat Document" r:id="rId4" imgW="11342857" imgH="8019048" progId="AcroExch.Document.11">
                  <p:embed/>
                  <p:pic>
                    <p:nvPicPr>
                      <p:cNvPr id="101380" name="Object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96850"/>
                        <a:ext cx="9144000" cy="64643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865" name="Picture 2" descr="2 New Im_0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19338" y="857250"/>
            <a:ext cx="4505325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6866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78217" y="5319712"/>
            <a:ext cx="925115" cy="4631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88483677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481" name="Picture 5" descr="bp_learndis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43808" y="3827055"/>
            <a:ext cx="3594100" cy="2735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482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sz="4400" dirty="0">
                <a:solidFill>
                  <a:srgbClr val="2B65AD"/>
                </a:solidFill>
                <a:latin typeface="GillSans Light"/>
                <a:ea typeface="ヒラギノ角ゴ ProN W3"/>
                <a:cs typeface="ヒラギノ角ゴ ProN W3"/>
                <a:sym typeface="GillSans Light"/>
              </a:rPr>
              <a:t>Fife Shine </a:t>
            </a:r>
            <a:r>
              <a:rPr lang="en-US" altLang="en-US" sz="4400" dirty="0" err="1">
                <a:solidFill>
                  <a:srgbClr val="2B65AD"/>
                </a:solidFill>
                <a:latin typeface="GillSans Light"/>
                <a:ea typeface="ヒラギノ角ゴ ProN W3"/>
                <a:cs typeface="ヒラギノ角ゴ ProN W3"/>
                <a:sym typeface="GillSans Light"/>
              </a:rPr>
              <a:t>Programme</a:t>
            </a:r>
            <a:endParaRPr lang="en-US" sz="4400" dirty="0">
              <a:latin typeface="Arial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11560" y="1196752"/>
            <a:ext cx="8604250" cy="2123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/>
              <a:buChar char="•"/>
              <a:defRPr/>
            </a:pPr>
            <a:r>
              <a:rPr lang="en-GB" sz="2200" dirty="0">
                <a:cs typeface="+mn-cs"/>
              </a:rPr>
              <a:t>Find ways for older people to thrive, not just survive at home.</a:t>
            </a:r>
          </a:p>
          <a:p>
            <a:pPr marL="342900" indent="-342900">
              <a:buFont typeface="Arial"/>
              <a:buChar char="•"/>
              <a:defRPr/>
            </a:pPr>
            <a:endParaRPr lang="en-GB" sz="2200" dirty="0">
              <a:cs typeface="+mn-cs"/>
            </a:endParaRPr>
          </a:p>
          <a:p>
            <a:pPr marL="342900" indent="-342900">
              <a:buFont typeface="Arial"/>
              <a:buChar char="•"/>
              <a:defRPr/>
            </a:pPr>
            <a:r>
              <a:rPr lang="en-GB" sz="2200" dirty="0">
                <a:cs typeface="+mn-cs"/>
              </a:rPr>
              <a:t>Explore what matters to people, solution-focused approaches</a:t>
            </a:r>
          </a:p>
          <a:p>
            <a:pPr marL="342900" indent="-342900">
              <a:buFont typeface="Arial"/>
              <a:buChar char="•"/>
              <a:defRPr/>
            </a:pPr>
            <a:endParaRPr lang="en-GB" sz="2200" dirty="0">
              <a:cs typeface="+mn-cs"/>
            </a:endParaRPr>
          </a:p>
          <a:p>
            <a:pPr marL="342900" indent="-342900">
              <a:buFont typeface="Arial"/>
              <a:buChar char="•"/>
              <a:defRPr/>
            </a:pPr>
            <a:r>
              <a:rPr lang="en-GB" sz="2200" dirty="0"/>
              <a:t>Develop quality relationships to c</a:t>
            </a:r>
            <a:r>
              <a:rPr lang="en-GB" sz="2200" dirty="0">
                <a:cs typeface="+mn-cs"/>
              </a:rPr>
              <a:t>o-create solutions with family, neighbours a</a:t>
            </a:r>
            <a:r>
              <a:rPr lang="en-GB" sz="2200" dirty="0"/>
              <a:t>nd community</a:t>
            </a:r>
            <a:endParaRPr lang="en-US" sz="2200" dirty="0"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31888919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9543" y="188641"/>
            <a:ext cx="9223088" cy="6480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1188946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>
            <a:grpSpLocks/>
          </p:cNvGrpSpPr>
          <p:nvPr/>
        </p:nvGrpSpPr>
        <p:grpSpPr bwMode="auto">
          <a:xfrm>
            <a:off x="7188927" y="-2077905"/>
            <a:ext cx="3910145" cy="3910145"/>
            <a:chOff x="0" y="0"/>
            <a:chExt cx="3616" cy="3616"/>
          </a:xfrm>
          <a:solidFill>
            <a:schemeClr val="bg1"/>
          </a:solidFill>
        </p:grpSpPr>
        <p:sp>
          <p:nvSpPr>
            <p:cNvPr id="5" name="Oval 4"/>
            <p:cNvSpPr>
              <a:spLocks/>
            </p:cNvSpPr>
            <p:nvPr/>
          </p:nvSpPr>
          <p:spPr bwMode="auto">
            <a:xfrm>
              <a:off x="0" y="0"/>
              <a:ext cx="3616" cy="361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3600">
                  <a:solidFill>
                    <a:schemeClr val="tx1"/>
                  </a:solidFill>
                  <a:latin typeface="GillSans" pitchFamily="-128" charset="0"/>
                  <a:ea typeface="ヒラギノ角ゴ ProN W3" pitchFamily="-128" charset="-128"/>
                  <a:sym typeface="GillSans" pitchFamily="-128" charset="0"/>
                </a:defRPr>
              </a:lvl1pPr>
              <a:lvl2pPr marL="742950" indent="-285750" eaLnBrk="0" hangingPunct="0">
                <a:defRPr sz="3600">
                  <a:solidFill>
                    <a:schemeClr val="tx1"/>
                  </a:solidFill>
                  <a:latin typeface="GillSans" pitchFamily="-128" charset="0"/>
                  <a:ea typeface="ヒラギノ角ゴ ProN W3" pitchFamily="-128" charset="-128"/>
                  <a:sym typeface="GillSans" pitchFamily="-128" charset="0"/>
                </a:defRPr>
              </a:lvl2pPr>
              <a:lvl3pPr marL="1143000" indent="-228600" eaLnBrk="0" hangingPunct="0">
                <a:defRPr sz="3600">
                  <a:solidFill>
                    <a:schemeClr val="tx1"/>
                  </a:solidFill>
                  <a:latin typeface="GillSans" pitchFamily="-128" charset="0"/>
                  <a:ea typeface="ヒラギノ角ゴ ProN W3" pitchFamily="-128" charset="-128"/>
                  <a:sym typeface="GillSans" pitchFamily="-128" charset="0"/>
                </a:defRPr>
              </a:lvl3pPr>
              <a:lvl4pPr marL="1600200" indent="-228600" eaLnBrk="0" hangingPunct="0">
                <a:defRPr sz="3600">
                  <a:solidFill>
                    <a:schemeClr val="tx1"/>
                  </a:solidFill>
                  <a:latin typeface="GillSans" pitchFamily="-128" charset="0"/>
                  <a:ea typeface="ヒラギノ角ゴ ProN W3" pitchFamily="-128" charset="-128"/>
                  <a:sym typeface="GillSans" pitchFamily="-128" charset="0"/>
                </a:defRPr>
              </a:lvl4pPr>
              <a:lvl5pPr marL="2057400" indent="-228600" eaLnBrk="0" hangingPunct="0">
                <a:defRPr sz="3600">
                  <a:solidFill>
                    <a:schemeClr val="tx1"/>
                  </a:solidFill>
                  <a:latin typeface="GillSans" pitchFamily="-128" charset="0"/>
                  <a:ea typeface="ヒラギノ角ゴ ProN W3" pitchFamily="-128" charset="-128"/>
                  <a:sym typeface="GillSans" pitchFamily="-12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chemeClr val="tx1"/>
                  </a:solidFill>
                  <a:latin typeface="GillSans" pitchFamily="-128" charset="0"/>
                  <a:ea typeface="ヒラギノ角ゴ ProN W3" pitchFamily="-128" charset="-128"/>
                  <a:sym typeface="GillSans" pitchFamily="-12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chemeClr val="tx1"/>
                  </a:solidFill>
                  <a:latin typeface="GillSans" pitchFamily="-128" charset="0"/>
                  <a:ea typeface="ヒラギノ角ゴ ProN W3" pitchFamily="-128" charset="-128"/>
                  <a:sym typeface="GillSans" pitchFamily="-12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chemeClr val="tx1"/>
                  </a:solidFill>
                  <a:latin typeface="GillSans" pitchFamily="-128" charset="0"/>
                  <a:ea typeface="ヒラギノ角ゴ ProN W3" pitchFamily="-128" charset="-128"/>
                  <a:sym typeface="GillSans" pitchFamily="-12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chemeClr val="tx1"/>
                  </a:solidFill>
                  <a:latin typeface="GillSans" pitchFamily="-128" charset="0"/>
                  <a:ea typeface="ヒラギノ角ゴ ProN W3" pitchFamily="-128" charset="-128"/>
                  <a:sym typeface="GillSans" pitchFamily="-128" charset="0"/>
                </a:defRPr>
              </a:lvl9pPr>
            </a:lstStyle>
            <a:p>
              <a:pPr eaLnBrk="1" hangingPunct="1">
                <a:defRPr/>
              </a:pPr>
              <a:endParaRPr lang="en-GB" altLang="en-US" sz="4200">
                <a:solidFill>
                  <a:srgbClr val="000000"/>
                </a:solidFill>
              </a:endParaRPr>
            </a:p>
          </p:txBody>
        </p:sp>
        <p:pic>
          <p:nvPicPr>
            <p:cNvPr id="6" name="Picture 5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8" y="1888"/>
              <a:ext cx="1136" cy="1131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" name="TextBox 1"/>
          <p:cNvSpPr txBox="1"/>
          <p:nvPr/>
        </p:nvSpPr>
        <p:spPr>
          <a:xfrm>
            <a:off x="5334000" y="1436906"/>
            <a:ext cx="3581400" cy="42780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1200"/>
              </a:spcBef>
              <a:buSzPct val="25000"/>
            </a:pPr>
            <a:r>
              <a:rPr lang="en-GB" b="1" dirty="0">
                <a:solidFill>
                  <a:srgbClr val="3165BB"/>
                </a:solidFill>
              </a:rPr>
              <a:t>A Case Study in Systems Change in Health and Social Care</a:t>
            </a:r>
          </a:p>
          <a:p>
            <a:pPr>
              <a:spcBef>
                <a:spcPts val="1200"/>
              </a:spcBef>
              <a:buSzPct val="25000"/>
            </a:pPr>
            <a:r>
              <a:rPr lang="en-GB" dirty="0">
                <a:solidFill>
                  <a:srgbClr val="3165BB"/>
                </a:solidFill>
              </a:rPr>
              <a:t>Part One:  </a:t>
            </a:r>
          </a:p>
          <a:p>
            <a:pPr>
              <a:spcBef>
                <a:spcPts val="1200"/>
              </a:spcBef>
              <a:buSzPct val="25000"/>
            </a:pPr>
            <a:r>
              <a:rPr lang="en-GB" b="1" dirty="0">
                <a:solidFill>
                  <a:srgbClr val="3165BB"/>
                </a:solidFill>
              </a:rPr>
              <a:t>Conceptual Architecture</a:t>
            </a:r>
          </a:p>
          <a:p>
            <a:pPr>
              <a:spcBef>
                <a:spcPts val="1200"/>
              </a:spcBef>
              <a:buSzPct val="25000"/>
            </a:pPr>
            <a:r>
              <a:rPr lang="en-GB" dirty="0">
                <a:solidFill>
                  <a:srgbClr val="3165BB"/>
                </a:solidFill>
              </a:rPr>
              <a:t>Part Two:  </a:t>
            </a:r>
          </a:p>
          <a:p>
            <a:pPr>
              <a:spcBef>
                <a:spcPts val="1200"/>
              </a:spcBef>
              <a:buSzPct val="25000"/>
            </a:pPr>
            <a:r>
              <a:rPr lang="en-GB" b="1" dirty="0">
                <a:solidFill>
                  <a:srgbClr val="3165BB"/>
                </a:solidFill>
              </a:rPr>
              <a:t>The Story of SHINE</a:t>
            </a:r>
          </a:p>
          <a:p>
            <a:pPr>
              <a:spcBef>
                <a:spcPts val="1200"/>
              </a:spcBef>
              <a:buSzPct val="25000"/>
            </a:pPr>
            <a:r>
              <a:rPr lang="en-GB" dirty="0">
                <a:solidFill>
                  <a:srgbClr val="3165BB"/>
                </a:solidFill>
              </a:rPr>
              <a:t>Part Three:  </a:t>
            </a:r>
          </a:p>
          <a:p>
            <a:pPr>
              <a:spcBef>
                <a:spcPts val="1200"/>
              </a:spcBef>
              <a:buSzPct val="25000"/>
            </a:pPr>
            <a:r>
              <a:rPr lang="en-GB" b="1" dirty="0">
                <a:solidFill>
                  <a:srgbClr val="3165BB"/>
                </a:solidFill>
              </a:rPr>
              <a:t>The Last Mile</a:t>
            </a:r>
          </a:p>
          <a:p>
            <a:pPr>
              <a:spcBef>
                <a:spcPts val="1200"/>
              </a:spcBef>
              <a:buSzPct val="25000"/>
            </a:pPr>
            <a:r>
              <a:rPr lang="en-GB" dirty="0">
                <a:solidFill>
                  <a:srgbClr val="3165BB"/>
                </a:solidFill>
              </a:rPr>
              <a:t>Part Four:  </a:t>
            </a:r>
          </a:p>
          <a:p>
            <a:pPr>
              <a:spcBef>
                <a:spcPts val="1200"/>
              </a:spcBef>
              <a:buSzPct val="25000"/>
            </a:pPr>
            <a:r>
              <a:rPr lang="en-GB" b="1" dirty="0">
                <a:solidFill>
                  <a:srgbClr val="3165BB"/>
                </a:solidFill>
              </a:rPr>
              <a:t>What Works?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6324600" y="6005899"/>
            <a:ext cx="2397535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1200"/>
              </a:spcBef>
              <a:buSzPct val="25000"/>
            </a:pPr>
            <a:r>
              <a:rPr lang="en-GB" dirty="0">
                <a:solidFill>
                  <a:schemeClr val="tx2"/>
                </a:solidFill>
              </a:rPr>
              <a:t>2018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984F3AA-414B-4FAE-A73D-F1AE059FC64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7200" y="304800"/>
            <a:ext cx="4423336" cy="6282898"/>
          </a:xfrm>
          <a:prstGeom prst="rect">
            <a:avLst/>
          </a:prstGeom>
          <a:ln>
            <a:solidFill>
              <a:srgbClr val="3165BB"/>
            </a:solidFill>
          </a:ln>
        </p:spPr>
      </p:pic>
    </p:spTree>
    <p:extLst>
      <p:ext uri="{BB962C8B-B14F-4D97-AF65-F5344CB8AC3E}">
        <p14:creationId xmlns:p14="http://schemas.microsoft.com/office/powerpoint/2010/main" val="3054318055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3" name="Rectangle 2"/>
          <p:cNvSpPr>
            <a:spLocks/>
          </p:cNvSpPr>
          <p:nvPr/>
        </p:nvSpPr>
        <p:spPr bwMode="auto">
          <a:xfrm>
            <a:off x="4462463" y="1931988"/>
            <a:ext cx="3721100" cy="3113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ct val="80000"/>
              </a:spcBef>
              <a:buChar char="§"/>
              <a:defRPr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010A81"/>
              </a:buClr>
              <a:buChar char="•"/>
              <a:defRPr sz="14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-"/>
              <a:defRPr sz="10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200">
                <a:solidFill>
                  <a:schemeClr val="bg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000">
                <a:solidFill>
                  <a:schemeClr val="bg2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000">
                <a:solidFill>
                  <a:schemeClr val="bg2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000">
                <a:solidFill>
                  <a:schemeClr val="bg2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000">
                <a:solidFill>
                  <a:schemeClr val="bg2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000">
                <a:solidFill>
                  <a:schemeClr val="bg2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buFont typeface="Wingdings" pitchFamily="2" charset="2"/>
              <a:buNone/>
            </a:pPr>
            <a:r>
              <a:rPr lang="en-US" altLang="en-US" sz="3000">
                <a:solidFill>
                  <a:srgbClr val="2B65AD"/>
                </a:solidFill>
                <a:latin typeface="GillSans Light"/>
                <a:ea typeface="ヒラギノ角ゴ ProN W3"/>
                <a:cs typeface="ヒラギノ角ゴ ProN W3"/>
                <a:sym typeface="GillSans Light"/>
              </a:rPr>
              <a:t>Shifting systems to a new pattern of viability fit for the future rather than just fixing what’s failing in the present.  Growing the new in the presence of the old.</a:t>
            </a:r>
          </a:p>
        </p:txBody>
      </p:sp>
      <p:sp>
        <p:nvSpPr>
          <p:cNvPr id="5124" name="Rectangle 2"/>
          <p:cNvSpPr>
            <a:spLocks/>
          </p:cNvSpPr>
          <p:nvPr/>
        </p:nvSpPr>
        <p:spPr bwMode="auto">
          <a:xfrm>
            <a:off x="1231900" y="466725"/>
            <a:ext cx="6680200" cy="982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ct val="80000"/>
              </a:spcBef>
              <a:buChar char="§"/>
              <a:defRPr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010A81"/>
              </a:buClr>
              <a:buChar char="•"/>
              <a:defRPr sz="14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-"/>
              <a:defRPr sz="10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200">
                <a:solidFill>
                  <a:schemeClr val="bg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000">
                <a:solidFill>
                  <a:schemeClr val="bg2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000">
                <a:solidFill>
                  <a:schemeClr val="bg2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000">
                <a:solidFill>
                  <a:schemeClr val="bg2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000">
                <a:solidFill>
                  <a:schemeClr val="bg2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000">
                <a:solidFill>
                  <a:schemeClr val="bg2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buFont typeface="Wingdings" pitchFamily="2" charset="2"/>
              <a:buNone/>
            </a:pPr>
            <a:r>
              <a:rPr lang="en-US" altLang="en-US" sz="4400" dirty="0">
                <a:solidFill>
                  <a:srgbClr val="2B65AD"/>
                </a:solidFill>
                <a:latin typeface="GillSans Light"/>
                <a:ea typeface="ヒラギノ角ゴ ProN W3"/>
                <a:cs typeface="ヒラギノ角ゴ ProN W3"/>
                <a:sym typeface="GillSans Light"/>
              </a:rPr>
              <a:t>Transformative Innovation</a:t>
            </a:r>
            <a:endParaRPr lang="en-US" altLang="en-US" sz="3000" dirty="0">
              <a:solidFill>
                <a:srgbClr val="2B65AD"/>
              </a:solidFill>
              <a:latin typeface="GillSans Light"/>
              <a:ea typeface="ヒラギノ角ゴ ProN W3"/>
              <a:cs typeface="ヒラギノ角ゴ ProN W3"/>
              <a:sym typeface="GillSans Light"/>
            </a:endParaRPr>
          </a:p>
          <a:p>
            <a:pPr eaLnBrk="1" hangingPunct="1">
              <a:spcBef>
                <a:spcPct val="50000"/>
              </a:spcBef>
              <a:buFont typeface="Wingdings" pitchFamily="2" charset="2"/>
              <a:buNone/>
            </a:pPr>
            <a:endParaRPr lang="en-US" altLang="en-US" sz="3000" dirty="0">
              <a:solidFill>
                <a:srgbClr val="2B65AD"/>
              </a:solidFill>
              <a:latin typeface="GillSans Light"/>
              <a:ea typeface="ヒラギノ角ゴ ProN W3"/>
              <a:cs typeface="ヒラギノ角ゴ ProN W3"/>
              <a:sym typeface="GillSans Light"/>
            </a:endParaRPr>
          </a:p>
        </p:txBody>
      </p:sp>
      <p:pic>
        <p:nvPicPr>
          <p:cNvPr id="5125" name="Picture 6" descr="Transformative Innovation: A Guide to Practice and Policy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663" y="1711325"/>
            <a:ext cx="3275012" cy="4402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263565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 bwMode="gray">
          <a:xfrm>
            <a:off x="866423" y="2282575"/>
            <a:ext cx="1485758" cy="366102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GB" sz="1600" b="1" dirty="0">
              <a:solidFill>
                <a:schemeClr val="bg1"/>
              </a:solidFill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4294967295"/>
          </p:nvPr>
        </p:nvSpPr>
        <p:spPr>
          <a:xfrm>
            <a:off x="304800" y="782638"/>
            <a:ext cx="7513638" cy="757237"/>
          </a:xfrm>
        </p:spPr>
        <p:txBody>
          <a:bodyPr/>
          <a:lstStyle/>
          <a:p>
            <a:r>
              <a:rPr lang="en-US" sz="2400" dirty="0">
                <a:solidFill>
                  <a:schemeClr val="tx1"/>
                </a:solidFill>
              </a:rPr>
              <a:t>A transformative innovation system that contains three ways of acting in and seeing the world.</a:t>
            </a:r>
          </a:p>
          <a:p>
            <a:endParaRPr lang="en-US" sz="2400" dirty="0"/>
          </a:p>
        </p:txBody>
      </p:sp>
      <p:sp>
        <p:nvSpPr>
          <p:cNvPr id="3" name="Title 2"/>
          <p:cNvSpPr>
            <a:spLocks noGrp="1"/>
          </p:cNvSpPr>
          <p:nvPr>
            <p:ph type="title" idx="4294967295"/>
          </p:nvPr>
        </p:nvSpPr>
        <p:spPr>
          <a:xfrm>
            <a:off x="304800" y="295275"/>
            <a:ext cx="8108950" cy="469900"/>
          </a:xfrm>
        </p:spPr>
        <p:txBody>
          <a:bodyPr/>
          <a:lstStyle/>
          <a:p>
            <a:r>
              <a:rPr lang="en-US" sz="3200" b="1" dirty="0">
                <a:solidFill>
                  <a:srgbClr val="3165BB"/>
                </a:solidFill>
                <a:latin typeface="GillSans Light"/>
              </a:rPr>
              <a:t>Three Horizons reprise</a:t>
            </a:r>
          </a:p>
        </p:txBody>
      </p:sp>
      <p:grpSp>
        <p:nvGrpSpPr>
          <p:cNvPr id="61" name="Group 60"/>
          <p:cNvGrpSpPr/>
          <p:nvPr/>
        </p:nvGrpSpPr>
        <p:grpSpPr>
          <a:xfrm>
            <a:off x="1280160" y="2143125"/>
            <a:ext cx="6583680" cy="3352800"/>
            <a:chOff x="685800" y="2286000"/>
            <a:chExt cx="6583680" cy="3352800"/>
          </a:xfrm>
        </p:grpSpPr>
        <p:cxnSp>
          <p:nvCxnSpPr>
            <p:cNvPr id="62" name="Straight Arrow Connector 61"/>
            <p:cNvCxnSpPr/>
            <p:nvPr/>
          </p:nvCxnSpPr>
          <p:spPr>
            <a:xfrm>
              <a:off x="685800" y="2286000"/>
              <a:ext cx="0" cy="3352800"/>
            </a:xfrm>
            <a:prstGeom prst="straightConnector1">
              <a:avLst/>
            </a:prstGeom>
            <a:ln>
              <a:solidFill>
                <a:schemeClr val="bg2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Arrow Connector 62"/>
            <p:cNvCxnSpPr/>
            <p:nvPr/>
          </p:nvCxnSpPr>
          <p:spPr>
            <a:xfrm flipH="1" flipV="1">
              <a:off x="685800" y="5638800"/>
              <a:ext cx="6583680" cy="0"/>
            </a:xfrm>
            <a:prstGeom prst="straightConnector1">
              <a:avLst/>
            </a:prstGeom>
            <a:ln>
              <a:solidFill>
                <a:schemeClr val="bg2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4" name="Text Placeholder 3"/>
          <p:cNvSpPr txBox="1">
            <a:spLocks/>
          </p:cNvSpPr>
          <p:nvPr/>
        </p:nvSpPr>
        <p:spPr bwMode="gray">
          <a:xfrm>
            <a:off x="646009" y="2128687"/>
            <a:ext cx="440826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buSzPct val="25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03200" indent="-203200" algn="l" defTabSz="914400" rtl="0" eaLnBrk="1" latinLnBrk="0" hangingPunct="1">
              <a:spcBef>
                <a:spcPts val="600"/>
              </a:spcBef>
              <a:buClrTx/>
              <a:buSzPct val="100000"/>
              <a:buFont typeface="Arial"/>
              <a:buChar char="•"/>
              <a:defRPr lang="en-US" sz="18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431800" indent="-203200" algn="l" defTabSz="914400" rtl="0" eaLnBrk="1" latinLnBrk="0" hangingPunct="1">
              <a:spcBef>
                <a:spcPts val="600"/>
              </a:spcBef>
              <a:buClrTx/>
              <a:buSzPct val="100000"/>
              <a:buFont typeface="Arial"/>
              <a:buChar char="−"/>
              <a:defRPr lang="en-US" sz="18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660400" indent="-203200" algn="l" defTabSz="914400" rtl="0" eaLnBrk="1" latinLnBrk="0" hangingPunct="1">
              <a:spcBef>
                <a:spcPts val="600"/>
              </a:spcBef>
              <a:buClrTx/>
              <a:buSzPct val="100000"/>
              <a:buFont typeface="Arial"/>
              <a:buChar char="◦"/>
              <a:defRPr lang="en-US" sz="16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89000" indent="-203200" algn="l" defTabSz="798513" rtl="0" eaLnBrk="1" latinLnBrk="0" hangingPunct="1">
              <a:spcBef>
                <a:spcPts val="600"/>
              </a:spcBef>
              <a:buClrTx/>
              <a:buSzPct val="100000"/>
              <a:buFont typeface="Arial"/>
              <a:buChar char="−"/>
              <a:tabLst/>
              <a:defRPr lang="en-US" sz="16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1" dirty="0"/>
              <a:t>Pattern</a:t>
            </a:r>
          </a:p>
        </p:txBody>
      </p:sp>
      <p:sp>
        <p:nvSpPr>
          <p:cNvPr id="65" name="Text Placeholder 3"/>
          <p:cNvSpPr txBox="1">
            <a:spLocks/>
          </p:cNvSpPr>
          <p:nvPr/>
        </p:nvSpPr>
        <p:spPr bwMode="gray">
          <a:xfrm>
            <a:off x="7442432" y="5646978"/>
            <a:ext cx="298160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buSzPct val="25000"/>
              <a:buFont typeface="Arial" panose="020B0604020202020204" pitchFamily="34" charset="0"/>
              <a:buChar char="‏"/>
              <a:defRPr sz="18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03200" indent="-203200" algn="l" defTabSz="914400" rtl="0" eaLnBrk="1" latinLnBrk="0" hangingPunct="1">
              <a:spcBef>
                <a:spcPts val="600"/>
              </a:spcBef>
              <a:buClrTx/>
              <a:buSzPct val="100000"/>
              <a:buFont typeface="Arial"/>
              <a:buChar char="•"/>
              <a:defRPr lang="en-US" sz="18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431800" indent="-203200" algn="l" defTabSz="914400" rtl="0" eaLnBrk="1" latinLnBrk="0" hangingPunct="1">
              <a:spcBef>
                <a:spcPts val="600"/>
              </a:spcBef>
              <a:buClrTx/>
              <a:buSzPct val="100000"/>
              <a:buFont typeface="Arial"/>
              <a:buChar char="−"/>
              <a:defRPr lang="en-US" sz="18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660400" indent="-203200" algn="l" defTabSz="914400" rtl="0" eaLnBrk="1" latinLnBrk="0" hangingPunct="1">
              <a:spcBef>
                <a:spcPts val="600"/>
              </a:spcBef>
              <a:buClrTx/>
              <a:buSzPct val="100000"/>
              <a:buFont typeface="Arial"/>
              <a:buChar char="◦"/>
              <a:defRPr lang="en-US" sz="16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89000" indent="-203200" algn="l" defTabSz="798513" rtl="0" eaLnBrk="1" latinLnBrk="0" hangingPunct="1">
              <a:spcBef>
                <a:spcPts val="600"/>
              </a:spcBef>
              <a:buClrTx/>
              <a:buSzPct val="100000"/>
              <a:buFont typeface="Arial"/>
              <a:buChar char="−"/>
              <a:tabLst/>
              <a:defRPr lang="en-US" sz="16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Font typeface="Arial" panose="020B0604020202020204" pitchFamily="34" charset="0"/>
              <a:buNone/>
            </a:pPr>
            <a:r>
              <a:rPr lang="en-US" sz="1000" b="1" dirty="0"/>
              <a:t>Time</a:t>
            </a:r>
          </a:p>
        </p:txBody>
      </p:sp>
      <p:sp>
        <p:nvSpPr>
          <p:cNvPr id="66" name="Freeform 65"/>
          <p:cNvSpPr/>
          <p:nvPr/>
        </p:nvSpPr>
        <p:spPr bwMode="gray">
          <a:xfrm>
            <a:off x="1272209" y="2570508"/>
            <a:ext cx="6192078" cy="2534478"/>
          </a:xfrm>
          <a:custGeom>
            <a:avLst/>
            <a:gdLst>
              <a:gd name="connsiteX0" fmla="*/ 0 w 6192078"/>
              <a:gd name="connsiteY0" fmla="*/ 0 h 2534478"/>
              <a:gd name="connsiteX1" fmla="*/ 3160643 w 6192078"/>
              <a:gd name="connsiteY1" fmla="*/ 1341782 h 2534478"/>
              <a:gd name="connsiteX2" fmla="*/ 6192078 w 6192078"/>
              <a:gd name="connsiteY2" fmla="*/ 2534478 h 25344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192078" h="2534478">
                <a:moveTo>
                  <a:pt x="0" y="0"/>
                </a:moveTo>
                <a:lnTo>
                  <a:pt x="3160643" y="1341782"/>
                </a:lnTo>
                <a:cubicBezTo>
                  <a:pt x="4192656" y="1764195"/>
                  <a:pt x="5685182" y="2054087"/>
                  <a:pt x="6192078" y="2534478"/>
                </a:cubicBezTo>
              </a:path>
            </a:pathLst>
          </a:custGeom>
          <a:noFill/>
          <a:ln w="19050" algn="ctr">
            <a:noFill/>
            <a:miter lim="800000"/>
            <a:headEnd/>
            <a:tailEnd/>
          </a:ln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Freeform 66"/>
          <p:cNvSpPr/>
          <p:nvPr/>
        </p:nvSpPr>
        <p:spPr bwMode="gray">
          <a:xfrm>
            <a:off x="1292087" y="2494916"/>
            <a:ext cx="6416784" cy="2703889"/>
          </a:xfrm>
          <a:custGeom>
            <a:avLst/>
            <a:gdLst>
              <a:gd name="connsiteX0" fmla="*/ 0 w 6416784"/>
              <a:gd name="connsiteY0" fmla="*/ 125287 h 2703889"/>
              <a:gd name="connsiteX1" fmla="*/ 1043609 w 6416784"/>
              <a:gd name="connsiteY1" fmla="*/ 125287 h 2703889"/>
              <a:gd name="connsiteX2" fmla="*/ 3120887 w 6416784"/>
              <a:gd name="connsiteY2" fmla="*/ 1427313 h 2703889"/>
              <a:gd name="connsiteX3" fmla="*/ 5178287 w 6416784"/>
              <a:gd name="connsiteY3" fmla="*/ 2500739 h 2703889"/>
              <a:gd name="connsiteX4" fmla="*/ 6202017 w 6416784"/>
              <a:gd name="connsiteY4" fmla="*/ 2610070 h 27038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416784" h="2703889">
                <a:moveTo>
                  <a:pt x="0" y="125287"/>
                </a:moveTo>
                <a:cubicBezTo>
                  <a:pt x="261730" y="16785"/>
                  <a:pt x="523461" y="-91717"/>
                  <a:pt x="1043609" y="125287"/>
                </a:cubicBezTo>
                <a:cubicBezTo>
                  <a:pt x="1563757" y="342291"/>
                  <a:pt x="2431774" y="1031404"/>
                  <a:pt x="3120887" y="1427313"/>
                </a:cubicBezTo>
                <a:cubicBezTo>
                  <a:pt x="3810000" y="1823222"/>
                  <a:pt x="4664765" y="2303613"/>
                  <a:pt x="5178287" y="2500739"/>
                </a:cubicBezTo>
                <a:cubicBezTo>
                  <a:pt x="5691809" y="2697865"/>
                  <a:pt x="6907695" y="2784005"/>
                  <a:pt x="6202017" y="2610070"/>
                </a:cubicBezTo>
              </a:path>
            </a:pathLst>
          </a:custGeom>
          <a:noFill/>
          <a:ln w="19050" algn="ctr">
            <a:noFill/>
            <a:miter lim="800000"/>
            <a:headEnd/>
            <a:tailEnd/>
          </a:ln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Freeform 67"/>
          <p:cNvSpPr/>
          <p:nvPr/>
        </p:nvSpPr>
        <p:spPr bwMode="gray">
          <a:xfrm>
            <a:off x="1295400" y="2504435"/>
            <a:ext cx="6172200" cy="2620429"/>
          </a:xfrm>
          <a:custGeom>
            <a:avLst/>
            <a:gdLst>
              <a:gd name="connsiteX0" fmla="*/ 0 w 6172200"/>
              <a:gd name="connsiteY0" fmla="*/ 170356 h 2694895"/>
              <a:gd name="connsiteX1" fmla="*/ 1003853 w 6172200"/>
              <a:gd name="connsiteY1" fmla="*/ 100782 h 2694895"/>
              <a:gd name="connsiteX2" fmla="*/ 2872409 w 6172200"/>
              <a:gd name="connsiteY2" fmla="*/ 1363052 h 2694895"/>
              <a:gd name="connsiteX3" fmla="*/ 4721087 w 6172200"/>
              <a:gd name="connsiteY3" fmla="*/ 2436478 h 2694895"/>
              <a:gd name="connsiteX4" fmla="*/ 6172200 w 6172200"/>
              <a:gd name="connsiteY4" fmla="*/ 2694895 h 2694895"/>
              <a:gd name="connsiteX0" fmla="*/ 0 w 6172200"/>
              <a:gd name="connsiteY0" fmla="*/ 95890 h 2620429"/>
              <a:gd name="connsiteX1" fmla="*/ 1143000 w 6172200"/>
              <a:gd name="connsiteY1" fmla="*/ 155525 h 2620429"/>
              <a:gd name="connsiteX2" fmla="*/ 2872409 w 6172200"/>
              <a:gd name="connsiteY2" fmla="*/ 1288586 h 2620429"/>
              <a:gd name="connsiteX3" fmla="*/ 4721087 w 6172200"/>
              <a:gd name="connsiteY3" fmla="*/ 2362012 h 2620429"/>
              <a:gd name="connsiteX4" fmla="*/ 6172200 w 6172200"/>
              <a:gd name="connsiteY4" fmla="*/ 2620429 h 26204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72200" h="2620429">
                <a:moveTo>
                  <a:pt x="0" y="95890"/>
                </a:moveTo>
                <a:cubicBezTo>
                  <a:pt x="262559" y="-38289"/>
                  <a:pt x="664265" y="-43258"/>
                  <a:pt x="1143000" y="155525"/>
                </a:cubicBezTo>
                <a:cubicBezTo>
                  <a:pt x="1621735" y="354308"/>
                  <a:pt x="2276061" y="920838"/>
                  <a:pt x="2872409" y="1288586"/>
                </a:cubicBezTo>
                <a:cubicBezTo>
                  <a:pt x="3468757" y="1656334"/>
                  <a:pt x="4171122" y="2140038"/>
                  <a:pt x="4721087" y="2362012"/>
                </a:cubicBezTo>
                <a:cubicBezTo>
                  <a:pt x="5271052" y="2583986"/>
                  <a:pt x="5923722" y="2593925"/>
                  <a:pt x="6172200" y="2620429"/>
                </a:cubicBezTo>
              </a:path>
            </a:pathLst>
          </a:custGeom>
          <a:noFill/>
          <a:ln w="38100" algn="ctr">
            <a:solidFill>
              <a:srgbClr val="C00000"/>
            </a:solidFill>
            <a:miter lim="800000"/>
            <a:headEnd/>
            <a:tailEnd/>
          </a:ln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9" name="Freeform 68"/>
          <p:cNvSpPr/>
          <p:nvPr/>
        </p:nvSpPr>
        <p:spPr bwMode="gray">
          <a:xfrm>
            <a:off x="1295400" y="2727660"/>
            <a:ext cx="6112565" cy="1756891"/>
          </a:xfrm>
          <a:custGeom>
            <a:avLst/>
            <a:gdLst>
              <a:gd name="connsiteX0" fmla="*/ 0 w 6112565"/>
              <a:gd name="connsiteY0" fmla="*/ 1764819 h 1789114"/>
              <a:gd name="connsiteX1" fmla="*/ 834887 w 6112565"/>
              <a:gd name="connsiteY1" fmla="*/ 1546158 h 1789114"/>
              <a:gd name="connsiteX2" fmla="*/ 2941982 w 6112565"/>
              <a:gd name="connsiteY2" fmla="*/ 15532 h 1789114"/>
              <a:gd name="connsiteX3" fmla="*/ 4363278 w 6112565"/>
              <a:gd name="connsiteY3" fmla="*/ 780845 h 1789114"/>
              <a:gd name="connsiteX4" fmla="*/ 6112565 w 6112565"/>
              <a:gd name="connsiteY4" fmla="*/ 1208227 h 1789114"/>
              <a:gd name="connsiteX0" fmla="*/ 0 w 6112565"/>
              <a:gd name="connsiteY0" fmla="*/ 1769668 h 1793963"/>
              <a:gd name="connsiteX1" fmla="*/ 834887 w 6112565"/>
              <a:gd name="connsiteY1" fmla="*/ 1551007 h 1793963"/>
              <a:gd name="connsiteX2" fmla="*/ 2941982 w 6112565"/>
              <a:gd name="connsiteY2" fmla="*/ 20381 h 1793963"/>
              <a:gd name="connsiteX3" fmla="*/ 4462669 w 6112565"/>
              <a:gd name="connsiteY3" fmla="*/ 706181 h 1793963"/>
              <a:gd name="connsiteX4" fmla="*/ 6112565 w 6112565"/>
              <a:gd name="connsiteY4" fmla="*/ 1213076 h 1793963"/>
              <a:gd name="connsiteX0" fmla="*/ 0 w 6112565"/>
              <a:gd name="connsiteY0" fmla="*/ 1760498 h 1784793"/>
              <a:gd name="connsiteX1" fmla="*/ 834887 w 6112565"/>
              <a:gd name="connsiteY1" fmla="*/ 1541837 h 1784793"/>
              <a:gd name="connsiteX2" fmla="*/ 2941982 w 6112565"/>
              <a:gd name="connsiteY2" fmla="*/ 11211 h 1784793"/>
              <a:gd name="connsiteX3" fmla="*/ 4899991 w 6112565"/>
              <a:gd name="connsiteY3" fmla="*/ 865976 h 1784793"/>
              <a:gd name="connsiteX4" fmla="*/ 6112565 w 6112565"/>
              <a:gd name="connsiteY4" fmla="*/ 1203906 h 1784793"/>
              <a:gd name="connsiteX0" fmla="*/ 0 w 6112565"/>
              <a:gd name="connsiteY0" fmla="*/ 1753370 h 1756891"/>
              <a:gd name="connsiteX1" fmla="*/ 1162878 w 6112565"/>
              <a:gd name="connsiteY1" fmla="*/ 1246475 h 1756891"/>
              <a:gd name="connsiteX2" fmla="*/ 2941982 w 6112565"/>
              <a:gd name="connsiteY2" fmla="*/ 4083 h 1756891"/>
              <a:gd name="connsiteX3" fmla="*/ 4899991 w 6112565"/>
              <a:gd name="connsiteY3" fmla="*/ 858848 h 1756891"/>
              <a:gd name="connsiteX4" fmla="*/ 6112565 w 6112565"/>
              <a:gd name="connsiteY4" fmla="*/ 1196778 h 17568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12565" h="1756891">
                <a:moveTo>
                  <a:pt x="0" y="1753370"/>
                </a:moveTo>
                <a:cubicBezTo>
                  <a:pt x="172278" y="1789813"/>
                  <a:pt x="672548" y="1538023"/>
                  <a:pt x="1162878" y="1246475"/>
                </a:cubicBezTo>
                <a:cubicBezTo>
                  <a:pt x="1653208" y="954927"/>
                  <a:pt x="2319130" y="68687"/>
                  <a:pt x="2941982" y="4083"/>
                </a:cubicBezTo>
                <a:cubicBezTo>
                  <a:pt x="3564834" y="-60521"/>
                  <a:pt x="4371561" y="660065"/>
                  <a:pt x="4899991" y="858848"/>
                </a:cubicBezTo>
                <a:cubicBezTo>
                  <a:pt x="5428422" y="1057630"/>
                  <a:pt x="5502137" y="1082478"/>
                  <a:pt x="6112565" y="1196778"/>
                </a:cubicBezTo>
              </a:path>
            </a:pathLst>
          </a:custGeom>
          <a:noFill/>
          <a:ln w="38100" algn="ctr">
            <a:solidFill>
              <a:srgbClr val="3165BB"/>
            </a:solidFill>
            <a:miter lim="800000"/>
            <a:headEnd/>
            <a:tailEnd/>
          </a:ln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0" name="Freeform 69"/>
          <p:cNvSpPr/>
          <p:nvPr/>
        </p:nvSpPr>
        <p:spPr bwMode="gray">
          <a:xfrm>
            <a:off x="1311965" y="2471116"/>
            <a:ext cx="5307496" cy="2667113"/>
          </a:xfrm>
          <a:custGeom>
            <a:avLst/>
            <a:gdLst>
              <a:gd name="connsiteX0" fmla="*/ 0 w 5307496"/>
              <a:gd name="connsiteY0" fmla="*/ 2653748 h 2667113"/>
              <a:gd name="connsiteX1" fmla="*/ 1391478 w 5307496"/>
              <a:gd name="connsiteY1" fmla="*/ 2494722 h 2667113"/>
              <a:gd name="connsiteX2" fmla="*/ 3120887 w 5307496"/>
              <a:gd name="connsiteY2" fmla="*/ 1441174 h 2667113"/>
              <a:gd name="connsiteX3" fmla="*/ 5307496 w 5307496"/>
              <a:gd name="connsiteY3" fmla="*/ 0 h 26671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07496" h="2667113">
                <a:moveTo>
                  <a:pt x="0" y="2653748"/>
                </a:moveTo>
                <a:cubicBezTo>
                  <a:pt x="435665" y="2675283"/>
                  <a:pt x="871330" y="2696818"/>
                  <a:pt x="1391478" y="2494722"/>
                </a:cubicBezTo>
                <a:cubicBezTo>
                  <a:pt x="1911626" y="2292626"/>
                  <a:pt x="2468217" y="1856961"/>
                  <a:pt x="3120887" y="1441174"/>
                </a:cubicBezTo>
                <a:cubicBezTo>
                  <a:pt x="3773557" y="1025387"/>
                  <a:pt x="4967909" y="253448"/>
                  <a:pt x="5307496" y="0"/>
                </a:cubicBezTo>
              </a:path>
            </a:pathLst>
          </a:custGeom>
          <a:noFill/>
          <a:ln w="19050" algn="ctr">
            <a:noFill/>
            <a:miter lim="800000"/>
            <a:headEnd/>
            <a:tailEnd/>
          </a:ln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1" name="Freeform 70"/>
          <p:cNvSpPr/>
          <p:nvPr/>
        </p:nvSpPr>
        <p:spPr bwMode="gray">
          <a:xfrm>
            <a:off x="1295400" y="2143125"/>
            <a:ext cx="6142382" cy="2819400"/>
          </a:xfrm>
          <a:custGeom>
            <a:avLst/>
            <a:gdLst>
              <a:gd name="connsiteX0" fmla="*/ 0 w 6102626"/>
              <a:gd name="connsiteY0" fmla="*/ 2655022 h 2655022"/>
              <a:gd name="connsiteX1" fmla="*/ 1431235 w 6102626"/>
              <a:gd name="connsiteY1" fmla="*/ 2456240 h 2655022"/>
              <a:gd name="connsiteX2" fmla="*/ 2872408 w 6102626"/>
              <a:gd name="connsiteY2" fmla="*/ 1651170 h 2655022"/>
              <a:gd name="connsiteX3" fmla="*/ 4164495 w 6102626"/>
              <a:gd name="connsiteY3" fmla="*/ 518109 h 2655022"/>
              <a:gd name="connsiteX4" fmla="*/ 5426765 w 6102626"/>
              <a:gd name="connsiteY4" fmla="*/ 80788 h 2655022"/>
              <a:gd name="connsiteX5" fmla="*/ 6102626 w 6102626"/>
              <a:gd name="connsiteY5" fmla="*/ 1275 h 2655022"/>
              <a:gd name="connsiteX0" fmla="*/ 0 w 6102626"/>
              <a:gd name="connsiteY0" fmla="*/ 2654391 h 2654391"/>
              <a:gd name="connsiteX1" fmla="*/ 1431235 w 6102626"/>
              <a:gd name="connsiteY1" fmla="*/ 2455609 h 2654391"/>
              <a:gd name="connsiteX2" fmla="*/ 2872408 w 6102626"/>
              <a:gd name="connsiteY2" fmla="*/ 1650539 h 2654391"/>
              <a:gd name="connsiteX3" fmla="*/ 4164495 w 6102626"/>
              <a:gd name="connsiteY3" fmla="*/ 517478 h 2654391"/>
              <a:gd name="connsiteX4" fmla="*/ 5227982 w 6102626"/>
              <a:gd name="connsiteY4" fmla="*/ 90096 h 2654391"/>
              <a:gd name="connsiteX5" fmla="*/ 6102626 w 6102626"/>
              <a:gd name="connsiteY5" fmla="*/ 644 h 26543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102626" h="2654391">
                <a:moveTo>
                  <a:pt x="0" y="2654391"/>
                </a:moveTo>
                <a:cubicBezTo>
                  <a:pt x="476250" y="2638654"/>
                  <a:pt x="952500" y="2622918"/>
                  <a:pt x="1431235" y="2455609"/>
                </a:cubicBezTo>
                <a:cubicBezTo>
                  <a:pt x="1909970" y="2288300"/>
                  <a:pt x="2416865" y="1973561"/>
                  <a:pt x="2872408" y="1650539"/>
                </a:cubicBezTo>
                <a:cubicBezTo>
                  <a:pt x="3327951" y="1327517"/>
                  <a:pt x="3771899" y="777552"/>
                  <a:pt x="4164495" y="517478"/>
                </a:cubicBezTo>
                <a:cubicBezTo>
                  <a:pt x="4557091" y="257404"/>
                  <a:pt x="4904960" y="176235"/>
                  <a:pt x="5227982" y="90096"/>
                </a:cubicBezTo>
                <a:cubicBezTo>
                  <a:pt x="5551004" y="3957"/>
                  <a:pt x="5926206" y="-2669"/>
                  <a:pt x="6102626" y="644"/>
                </a:cubicBezTo>
              </a:path>
            </a:pathLst>
          </a:custGeom>
          <a:noFill/>
          <a:ln w="38100" algn="ctr">
            <a:solidFill>
              <a:srgbClr val="177D36"/>
            </a:solidFill>
            <a:miter lim="800000"/>
            <a:headEnd/>
            <a:tailEnd/>
          </a:ln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2" name="TextBox 71"/>
          <p:cNvSpPr txBox="1"/>
          <p:nvPr/>
        </p:nvSpPr>
        <p:spPr>
          <a:xfrm>
            <a:off x="1345095" y="4097228"/>
            <a:ext cx="326682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1200"/>
              </a:spcBef>
              <a:buSzPct val="25000"/>
            </a:pPr>
            <a:r>
              <a:rPr lang="en-US" sz="1400" b="1" dirty="0">
                <a:solidFill>
                  <a:srgbClr val="3165BB"/>
                </a:solidFill>
              </a:rPr>
              <a:t>H2</a:t>
            </a:r>
          </a:p>
        </p:txBody>
      </p:sp>
      <p:sp>
        <p:nvSpPr>
          <p:cNvPr id="73" name="TextBox 72"/>
          <p:cNvSpPr txBox="1"/>
          <p:nvPr/>
        </p:nvSpPr>
        <p:spPr>
          <a:xfrm>
            <a:off x="1345095" y="5086347"/>
            <a:ext cx="326682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1200"/>
              </a:spcBef>
              <a:buSzPct val="25000"/>
            </a:pPr>
            <a:r>
              <a:rPr lang="en-US" sz="1400" b="1" dirty="0">
                <a:solidFill>
                  <a:srgbClr val="177D36"/>
                </a:solidFill>
              </a:rPr>
              <a:t>H3</a:t>
            </a:r>
          </a:p>
        </p:txBody>
      </p:sp>
      <p:sp>
        <p:nvSpPr>
          <p:cNvPr id="75" name="TextBox 74"/>
          <p:cNvSpPr txBox="1"/>
          <p:nvPr/>
        </p:nvSpPr>
        <p:spPr>
          <a:xfrm>
            <a:off x="1345095" y="2694417"/>
            <a:ext cx="326682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1200"/>
              </a:spcBef>
              <a:buSzPct val="25000"/>
            </a:pPr>
            <a:r>
              <a:rPr lang="en-US" sz="1400" b="1" dirty="0">
                <a:solidFill>
                  <a:srgbClr val="C00000"/>
                </a:solidFill>
              </a:rPr>
              <a:t>H1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894365" y="4523601"/>
            <a:ext cx="2610835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1200"/>
              </a:spcBef>
              <a:buSzPct val="25000"/>
            </a:pPr>
            <a:r>
              <a:rPr lang="en-GB" b="1" dirty="0">
                <a:solidFill>
                  <a:schemeClr val="tx2"/>
                </a:solidFill>
              </a:rPr>
              <a:t>Entrepreneur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1046765" y="3013501"/>
            <a:ext cx="2610835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1200"/>
              </a:spcBef>
              <a:buSzPct val="25000"/>
            </a:pPr>
            <a:r>
              <a:rPr lang="en-GB" b="1" dirty="0">
                <a:solidFill>
                  <a:schemeClr val="tx2"/>
                </a:solidFill>
              </a:rPr>
              <a:t>Manager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1046764" y="5514201"/>
            <a:ext cx="2610835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1200"/>
              </a:spcBef>
              <a:buSzPct val="25000"/>
            </a:pPr>
            <a:r>
              <a:rPr lang="en-GB" b="1" dirty="0">
                <a:solidFill>
                  <a:schemeClr val="tx2"/>
                </a:solidFill>
              </a:rPr>
              <a:t>Visionary</a:t>
            </a:r>
          </a:p>
        </p:txBody>
      </p:sp>
    </p:spTree>
    <p:extLst>
      <p:ext uri="{BB962C8B-B14F-4D97-AF65-F5344CB8AC3E}">
        <p14:creationId xmlns:p14="http://schemas.microsoft.com/office/powerpoint/2010/main" val="3787774374"/>
      </p:ext>
    </p:extLst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idx="4294967295"/>
          </p:nvPr>
        </p:nvSpPr>
        <p:spPr>
          <a:xfrm>
            <a:off x="304800" y="304800"/>
            <a:ext cx="8032750" cy="469900"/>
          </a:xfrm>
        </p:spPr>
        <p:txBody>
          <a:bodyPr/>
          <a:lstStyle/>
          <a:p>
            <a:r>
              <a:rPr lang="en-US" sz="3200" b="1" dirty="0">
                <a:solidFill>
                  <a:srgbClr val="3165BB"/>
                </a:solidFill>
                <a:latin typeface="GillSans Light"/>
              </a:rPr>
              <a:t>Three Horizons Voices and Relationships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4294967295"/>
          </p:nvPr>
        </p:nvSpPr>
        <p:spPr>
          <a:xfrm>
            <a:off x="304800" y="914400"/>
            <a:ext cx="8748712" cy="757237"/>
          </a:xfrm>
        </p:spPr>
        <p:txBody>
          <a:bodyPr/>
          <a:lstStyle/>
          <a:p>
            <a:r>
              <a:rPr lang="en-US" dirty="0"/>
              <a:t>Shifting from negative mindsets to positive perspectives enables people</a:t>
            </a:r>
            <a:br>
              <a:rPr lang="en-US" dirty="0"/>
            </a:br>
            <a:r>
              <a:rPr lang="en-US" dirty="0"/>
              <a:t>to work across horizons and facilitate the conditions for transformative change.</a:t>
            </a:r>
          </a:p>
        </p:txBody>
      </p:sp>
      <p:sp>
        <p:nvSpPr>
          <p:cNvPr id="10" name="iBar:29/127"/>
          <p:cNvSpPr/>
          <p:nvPr/>
        </p:nvSpPr>
        <p:spPr bwMode="gray">
          <a:xfrm>
            <a:off x="368300" y="1996440"/>
            <a:ext cx="4114800" cy="36576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none" lIns="91440" tIns="0" rIns="91440" bIns="0" rtlCol="0" anchor="ctr"/>
          <a:lstStyle/>
          <a:p>
            <a:pPr algn="ctr">
              <a:lnSpc>
                <a:spcPct val="106000"/>
              </a:lnSpc>
            </a:pPr>
            <a:r>
              <a:rPr lang="en-US" sz="1600" b="1" dirty="0">
                <a:solidFill>
                  <a:srgbClr val="FFFFFF"/>
                </a:solidFill>
              </a:rPr>
              <a:t>Negative Mindsets</a:t>
            </a:r>
          </a:p>
        </p:txBody>
      </p:sp>
      <p:sp>
        <p:nvSpPr>
          <p:cNvPr id="11" name="iBar:367/127"/>
          <p:cNvSpPr/>
          <p:nvPr/>
        </p:nvSpPr>
        <p:spPr bwMode="gray">
          <a:xfrm>
            <a:off x="4660900" y="1996440"/>
            <a:ext cx="4114800" cy="36576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none" lIns="91440" tIns="0" rIns="91440" bIns="0" rtlCol="0" anchor="ctr"/>
          <a:lstStyle/>
          <a:p>
            <a:pPr algn="ctr">
              <a:lnSpc>
                <a:spcPct val="106000"/>
              </a:lnSpc>
            </a:pPr>
            <a:r>
              <a:rPr lang="en-US" sz="1600" b="1" dirty="0">
                <a:solidFill>
                  <a:srgbClr val="FFFFFF"/>
                </a:solidFill>
              </a:rPr>
              <a:t>Positive Perspectives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609600" y="2819400"/>
            <a:ext cx="3429000" cy="3660951"/>
            <a:chOff x="609600" y="2310779"/>
            <a:chExt cx="3429000" cy="3660951"/>
          </a:xfrm>
        </p:grpSpPr>
        <p:sp>
          <p:nvSpPr>
            <p:cNvPr id="12" name="TextBox 11"/>
            <p:cNvSpPr txBox="1"/>
            <p:nvPr/>
          </p:nvSpPr>
          <p:spPr>
            <a:xfrm>
              <a:off x="609600" y="2310779"/>
              <a:ext cx="609600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spcBef>
                  <a:spcPts val="1200"/>
                </a:spcBef>
                <a:buSzPct val="25000"/>
              </a:pPr>
              <a:r>
                <a:rPr lang="en-US" b="1" dirty="0">
                  <a:solidFill>
                    <a:srgbClr val="C00000"/>
                  </a:solidFill>
                </a:rPr>
                <a:t>H1</a:t>
              </a: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609600" y="5694731"/>
              <a:ext cx="609600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spcBef>
                  <a:spcPts val="1200"/>
                </a:spcBef>
                <a:buSzPct val="25000"/>
              </a:pPr>
              <a:r>
                <a:rPr lang="en-US" b="1" dirty="0">
                  <a:solidFill>
                    <a:srgbClr val="177D36"/>
                  </a:solidFill>
                </a:rPr>
                <a:t>H3</a:t>
              </a: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3429000" y="4002755"/>
              <a:ext cx="609600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spcBef>
                  <a:spcPts val="1200"/>
                </a:spcBef>
                <a:buSzPct val="25000"/>
              </a:pPr>
              <a:r>
                <a:rPr lang="en-US" b="1" dirty="0">
                  <a:solidFill>
                    <a:srgbClr val="3165BB"/>
                  </a:solidFill>
                </a:rPr>
                <a:t>H2</a:t>
              </a:r>
            </a:p>
          </p:txBody>
        </p:sp>
      </p:grpSp>
      <p:cxnSp>
        <p:nvCxnSpPr>
          <p:cNvPr id="16" name="Straight Arrow Connector 15"/>
          <p:cNvCxnSpPr/>
          <p:nvPr/>
        </p:nvCxnSpPr>
        <p:spPr>
          <a:xfrm>
            <a:off x="914400" y="3096398"/>
            <a:ext cx="0" cy="1554480"/>
          </a:xfrm>
          <a:prstGeom prst="straightConnector1">
            <a:avLst/>
          </a:prstGeom>
          <a:ln w="28575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/>
          <p:nvPr/>
        </p:nvCxnSpPr>
        <p:spPr>
          <a:xfrm flipH="1" flipV="1">
            <a:off x="1116330" y="2884324"/>
            <a:ext cx="1308100" cy="787422"/>
          </a:xfrm>
          <a:prstGeom prst="straightConnector1">
            <a:avLst/>
          </a:prstGeom>
          <a:ln w="28575">
            <a:solidFill>
              <a:srgbClr val="C00000"/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7"/>
          <p:cNvSpPr txBox="1"/>
          <p:nvPr/>
        </p:nvSpPr>
        <p:spPr>
          <a:xfrm rot="1921251">
            <a:off x="1249045" y="2980768"/>
            <a:ext cx="11430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1200"/>
              </a:spcBef>
              <a:buSzPct val="25000"/>
            </a:pPr>
            <a:r>
              <a:rPr lang="en-US" sz="1600" dirty="0">
                <a:solidFill>
                  <a:schemeClr val="tx2"/>
                </a:solidFill>
              </a:rPr>
              <a:t>Too Risky</a:t>
            </a:r>
          </a:p>
        </p:txBody>
      </p:sp>
      <p:sp>
        <p:nvSpPr>
          <p:cNvPr id="40" name="TextBox 39"/>
          <p:cNvSpPr txBox="1"/>
          <p:nvPr/>
        </p:nvSpPr>
        <p:spPr>
          <a:xfrm rot="16200000">
            <a:off x="162947" y="3750528"/>
            <a:ext cx="11430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1200"/>
              </a:spcBef>
              <a:buSzPct val="25000"/>
            </a:pPr>
            <a:r>
              <a:rPr lang="en-US" sz="1600" dirty="0">
                <a:solidFill>
                  <a:schemeClr val="tx2"/>
                </a:solidFill>
              </a:rPr>
              <a:t>Irrelevant</a:t>
            </a:r>
          </a:p>
        </p:txBody>
      </p:sp>
      <p:cxnSp>
        <p:nvCxnSpPr>
          <p:cNvPr id="17" name="Straight Arrow Connector 16"/>
          <p:cNvCxnSpPr/>
          <p:nvPr/>
        </p:nvCxnSpPr>
        <p:spPr>
          <a:xfrm flipV="1">
            <a:off x="904240" y="4650878"/>
            <a:ext cx="10160" cy="1504406"/>
          </a:xfrm>
          <a:prstGeom prst="straightConnector1">
            <a:avLst/>
          </a:prstGeom>
          <a:ln w="28575">
            <a:solidFill>
              <a:srgbClr val="177D3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/>
          <p:cNvCxnSpPr/>
          <p:nvPr/>
        </p:nvCxnSpPr>
        <p:spPr>
          <a:xfrm flipH="1">
            <a:off x="1116330" y="5592405"/>
            <a:ext cx="1308100" cy="787422"/>
          </a:xfrm>
          <a:prstGeom prst="straightConnector1">
            <a:avLst/>
          </a:prstGeom>
          <a:ln w="28575">
            <a:solidFill>
              <a:srgbClr val="177D36"/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/>
          <p:cNvSpPr txBox="1"/>
          <p:nvPr/>
        </p:nvSpPr>
        <p:spPr>
          <a:xfrm rot="16200000">
            <a:off x="162947" y="5279971"/>
            <a:ext cx="11430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1200"/>
              </a:spcBef>
              <a:buSzPct val="25000"/>
            </a:pPr>
            <a:r>
              <a:rPr lang="en-US" sz="1600" dirty="0">
                <a:solidFill>
                  <a:schemeClr val="tx2"/>
                </a:solidFill>
              </a:rPr>
              <a:t>Dinosaur</a:t>
            </a:r>
          </a:p>
        </p:txBody>
      </p:sp>
      <p:sp>
        <p:nvSpPr>
          <p:cNvPr id="42" name="TextBox 41"/>
          <p:cNvSpPr txBox="1"/>
          <p:nvPr/>
        </p:nvSpPr>
        <p:spPr>
          <a:xfrm rot="19694538">
            <a:off x="1211579" y="6028530"/>
            <a:ext cx="12573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1200"/>
              </a:spcBef>
              <a:buSzPct val="25000"/>
            </a:pPr>
            <a:r>
              <a:rPr lang="en-US" sz="1600" dirty="0">
                <a:solidFill>
                  <a:schemeClr val="tx2"/>
                </a:solidFill>
              </a:rPr>
              <a:t>Compromise</a:t>
            </a:r>
          </a:p>
        </p:txBody>
      </p:sp>
      <p:cxnSp>
        <p:nvCxnSpPr>
          <p:cNvPr id="21" name="Straight Arrow Connector 20"/>
          <p:cNvCxnSpPr/>
          <p:nvPr/>
        </p:nvCxnSpPr>
        <p:spPr>
          <a:xfrm flipH="1">
            <a:off x="2425700" y="4788375"/>
            <a:ext cx="1308100" cy="787422"/>
          </a:xfrm>
          <a:prstGeom prst="straightConnector1">
            <a:avLst/>
          </a:prstGeom>
          <a:ln w="28575">
            <a:solidFill>
              <a:srgbClr val="3165B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/>
          <p:nvPr/>
        </p:nvCxnSpPr>
        <p:spPr>
          <a:xfrm flipH="1" flipV="1">
            <a:off x="2425700" y="3688354"/>
            <a:ext cx="1308100" cy="787422"/>
          </a:xfrm>
          <a:prstGeom prst="straightConnector1">
            <a:avLst/>
          </a:prstGeom>
          <a:ln w="28575">
            <a:solidFill>
              <a:srgbClr val="3165B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/>
          <p:cNvSpPr txBox="1"/>
          <p:nvPr/>
        </p:nvSpPr>
        <p:spPr>
          <a:xfrm rot="1921251">
            <a:off x="2612305" y="3833415"/>
            <a:ext cx="11430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1200"/>
              </a:spcBef>
              <a:buSzPct val="25000"/>
            </a:pPr>
            <a:r>
              <a:rPr lang="en-US" sz="1600" dirty="0">
                <a:solidFill>
                  <a:schemeClr val="tx2"/>
                </a:solidFill>
              </a:rPr>
              <a:t>Obstructive</a:t>
            </a:r>
          </a:p>
        </p:txBody>
      </p:sp>
      <p:sp>
        <p:nvSpPr>
          <p:cNvPr id="46" name="TextBox 45"/>
          <p:cNvSpPr txBox="1"/>
          <p:nvPr/>
        </p:nvSpPr>
        <p:spPr>
          <a:xfrm rot="19694538">
            <a:off x="2542311" y="5212851"/>
            <a:ext cx="12573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1200"/>
              </a:spcBef>
              <a:buSzPct val="25000"/>
            </a:pPr>
            <a:r>
              <a:rPr lang="en-US" sz="1600" dirty="0">
                <a:solidFill>
                  <a:schemeClr val="tx2"/>
                </a:solidFill>
              </a:rPr>
              <a:t>Impractical</a:t>
            </a:r>
          </a:p>
        </p:txBody>
      </p:sp>
      <p:grpSp>
        <p:nvGrpSpPr>
          <p:cNvPr id="9" name="Group 8"/>
          <p:cNvGrpSpPr/>
          <p:nvPr/>
        </p:nvGrpSpPr>
        <p:grpSpPr>
          <a:xfrm>
            <a:off x="5006340" y="2819400"/>
            <a:ext cx="3429000" cy="3660951"/>
            <a:chOff x="5006340" y="2310779"/>
            <a:chExt cx="3429000" cy="3660951"/>
          </a:xfrm>
        </p:grpSpPr>
        <p:sp>
          <p:nvSpPr>
            <p:cNvPr id="49" name="TextBox 48"/>
            <p:cNvSpPr txBox="1"/>
            <p:nvPr/>
          </p:nvSpPr>
          <p:spPr>
            <a:xfrm>
              <a:off x="5006340" y="2310779"/>
              <a:ext cx="609600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spcBef>
                  <a:spcPts val="1200"/>
                </a:spcBef>
                <a:buSzPct val="25000"/>
              </a:pPr>
              <a:r>
                <a:rPr lang="en-US" b="1" dirty="0">
                  <a:solidFill>
                    <a:srgbClr val="C00000"/>
                  </a:solidFill>
                </a:rPr>
                <a:t>H1</a:t>
              </a:r>
            </a:p>
          </p:txBody>
        </p:sp>
        <p:sp>
          <p:nvSpPr>
            <p:cNvPr id="50" name="TextBox 49"/>
            <p:cNvSpPr txBox="1"/>
            <p:nvPr/>
          </p:nvSpPr>
          <p:spPr>
            <a:xfrm>
              <a:off x="5006340" y="5694731"/>
              <a:ext cx="609600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spcBef>
                  <a:spcPts val="1200"/>
                </a:spcBef>
                <a:buSzPct val="25000"/>
              </a:pPr>
              <a:r>
                <a:rPr lang="en-US" b="1" dirty="0">
                  <a:solidFill>
                    <a:srgbClr val="177D36"/>
                  </a:solidFill>
                </a:rPr>
                <a:t>H3</a:t>
              </a:r>
            </a:p>
          </p:txBody>
        </p:sp>
        <p:sp>
          <p:nvSpPr>
            <p:cNvPr id="51" name="TextBox 50"/>
            <p:cNvSpPr txBox="1"/>
            <p:nvPr/>
          </p:nvSpPr>
          <p:spPr>
            <a:xfrm>
              <a:off x="7825740" y="4002755"/>
              <a:ext cx="609600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spcBef>
                  <a:spcPts val="1200"/>
                </a:spcBef>
                <a:buSzPct val="25000"/>
              </a:pPr>
              <a:r>
                <a:rPr lang="en-US" b="1" dirty="0">
                  <a:solidFill>
                    <a:srgbClr val="3165BB"/>
                  </a:solidFill>
                </a:rPr>
                <a:t>H2</a:t>
              </a:r>
            </a:p>
          </p:txBody>
        </p:sp>
      </p:grpSp>
      <p:cxnSp>
        <p:nvCxnSpPr>
          <p:cNvPr id="52" name="Straight Arrow Connector 51"/>
          <p:cNvCxnSpPr/>
          <p:nvPr/>
        </p:nvCxnSpPr>
        <p:spPr>
          <a:xfrm>
            <a:off x="5311140" y="3096398"/>
            <a:ext cx="0" cy="1554480"/>
          </a:xfrm>
          <a:prstGeom prst="straightConnector1">
            <a:avLst/>
          </a:prstGeom>
          <a:ln w="28575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Arrow Connector 56"/>
          <p:cNvCxnSpPr/>
          <p:nvPr/>
        </p:nvCxnSpPr>
        <p:spPr>
          <a:xfrm flipH="1" flipV="1">
            <a:off x="5513070" y="2884324"/>
            <a:ext cx="1308100" cy="787422"/>
          </a:xfrm>
          <a:prstGeom prst="straightConnector1">
            <a:avLst/>
          </a:prstGeom>
          <a:ln w="28575">
            <a:solidFill>
              <a:srgbClr val="C00000"/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TextBox 57"/>
          <p:cNvSpPr txBox="1"/>
          <p:nvPr/>
        </p:nvSpPr>
        <p:spPr>
          <a:xfrm rot="1921251">
            <a:off x="5645785" y="2980768"/>
            <a:ext cx="11430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1200"/>
              </a:spcBef>
              <a:buSzPct val="25000"/>
            </a:pPr>
            <a:r>
              <a:rPr lang="en-US" sz="1600" dirty="0">
                <a:solidFill>
                  <a:schemeClr val="tx2"/>
                </a:solidFill>
              </a:rPr>
              <a:t>Ideas</a:t>
            </a:r>
          </a:p>
        </p:txBody>
      </p:sp>
      <p:sp>
        <p:nvSpPr>
          <p:cNvPr id="59" name="TextBox 58"/>
          <p:cNvSpPr txBox="1"/>
          <p:nvPr/>
        </p:nvSpPr>
        <p:spPr>
          <a:xfrm rot="16200000">
            <a:off x="4559687" y="3750528"/>
            <a:ext cx="11430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1200"/>
              </a:spcBef>
              <a:buSzPct val="25000"/>
            </a:pPr>
            <a:r>
              <a:rPr lang="en-US" sz="1600" dirty="0">
                <a:solidFill>
                  <a:schemeClr val="tx2"/>
                </a:solidFill>
              </a:rPr>
              <a:t>Hope</a:t>
            </a:r>
          </a:p>
        </p:txBody>
      </p:sp>
      <p:cxnSp>
        <p:nvCxnSpPr>
          <p:cNvPr id="53" name="Straight Arrow Connector 52"/>
          <p:cNvCxnSpPr/>
          <p:nvPr/>
        </p:nvCxnSpPr>
        <p:spPr>
          <a:xfrm flipV="1">
            <a:off x="5300980" y="4650878"/>
            <a:ext cx="10160" cy="1504406"/>
          </a:xfrm>
          <a:prstGeom prst="straightConnector1">
            <a:avLst/>
          </a:prstGeom>
          <a:ln w="28575">
            <a:solidFill>
              <a:srgbClr val="177D3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Arrow Connector 54"/>
          <p:cNvCxnSpPr/>
          <p:nvPr/>
        </p:nvCxnSpPr>
        <p:spPr>
          <a:xfrm flipH="1">
            <a:off x="5513070" y="5592405"/>
            <a:ext cx="1308100" cy="787422"/>
          </a:xfrm>
          <a:prstGeom prst="straightConnector1">
            <a:avLst/>
          </a:prstGeom>
          <a:ln w="28575">
            <a:solidFill>
              <a:srgbClr val="177D36"/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TextBox 59"/>
          <p:cNvSpPr txBox="1"/>
          <p:nvPr/>
        </p:nvSpPr>
        <p:spPr>
          <a:xfrm rot="16200000">
            <a:off x="4559687" y="5279971"/>
            <a:ext cx="11430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1200"/>
              </a:spcBef>
              <a:buSzPct val="25000"/>
            </a:pPr>
            <a:r>
              <a:rPr lang="en-US" sz="1600" dirty="0">
                <a:solidFill>
                  <a:schemeClr val="tx2"/>
                </a:solidFill>
              </a:rPr>
              <a:t>Scale</a:t>
            </a:r>
          </a:p>
        </p:txBody>
      </p:sp>
      <p:sp>
        <p:nvSpPr>
          <p:cNvPr id="61" name="TextBox 60"/>
          <p:cNvSpPr txBox="1"/>
          <p:nvPr/>
        </p:nvSpPr>
        <p:spPr>
          <a:xfrm rot="19694538">
            <a:off x="5608319" y="6028530"/>
            <a:ext cx="12573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1200"/>
              </a:spcBef>
              <a:buSzPct val="25000"/>
            </a:pPr>
            <a:r>
              <a:rPr lang="en-US" sz="1600" dirty="0">
                <a:solidFill>
                  <a:schemeClr val="tx2"/>
                </a:solidFill>
              </a:rPr>
              <a:t>Ally</a:t>
            </a:r>
          </a:p>
        </p:txBody>
      </p:sp>
      <p:cxnSp>
        <p:nvCxnSpPr>
          <p:cNvPr id="54" name="Straight Arrow Connector 53"/>
          <p:cNvCxnSpPr/>
          <p:nvPr/>
        </p:nvCxnSpPr>
        <p:spPr>
          <a:xfrm flipH="1">
            <a:off x="6822440" y="4788375"/>
            <a:ext cx="1308100" cy="787422"/>
          </a:xfrm>
          <a:prstGeom prst="straightConnector1">
            <a:avLst/>
          </a:prstGeom>
          <a:ln w="28575">
            <a:solidFill>
              <a:srgbClr val="3165B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Arrow Connector 55"/>
          <p:cNvCxnSpPr/>
          <p:nvPr/>
        </p:nvCxnSpPr>
        <p:spPr>
          <a:xfrm flipH="1" flipV="1">
            <a:off x="6822440" y="3688354"/>
            <a:ext cx="1308100" cy="787422"/>
          </a:xfrm>
          <a:prstGeom prst="straightConnector1">
            <a:avLst/>
          </a:prstGeom>
          <a:ln w="28575">
            <a:solidFill>
              <a:srgbClr val="3165B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TextBox 61"/>
          <p:cNvSpPr txBox="1"/>
          <p:nvPr/>
        </p:nvSpPr>
        <p:spPr>
          <a:xfrm rot="1921251">
            <a:off x="7009045" y="3833415"/>
            <a:ext cx="11430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1200"/>
              </a:spcBef>
              <a:buSzPct val="25000"/>
            </a:pPr>
            <a:r>
              <a:rPr lang="en-US" sz="1600" dirty="0">
                <a:solidFill>
                  <a:schemeClr val="tx2"/>
                </a:solidFill>
              </a:rPr>
              <a:t>Support</a:t>
            </a:r>
          </a:p>
        </p:txBody>
      </p:sp>
      <p:sp>
        <p:nvSpPr>
          <p:cNvPr id="63" name="TextBox 62"/>
          <p:cNvSpPr txBox="1"/>
          <p:nvPr/>
        </p:nvSpPr>
        <p:spPr>
          <a:xfrm rot="19694538">
            <a:off x="6939051" y="5212851"/>
            <a:ext cx="12573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1200"/>
              </a:spcBef>
              <a:buSzPct val="25000"/>
            </a:pPr>
            <a:r>
              <a:rPr lang="en-US" sz="1600" dirty="0">
                <a:solidFill>
                  <a:schemeClr val="tx2"/>
                </a:solidFill>
              </a:rPr>
              <a:t>Inspiration</a:t>
            </a:r>
          </a:p>
        </p:txBody>
      </p:sp>
    </p:spTree>
    <p:extLst>
      <p:ext uri="{BB962C8B-B14F-4D97-AF65-F5344CB8AC3E}">
        <p14:creationId xmlns:p14="http://schemas.microsoft.com/office/powerpoint/2010/main" val="3960238815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 animBg="1"/>
      <p:bldP spid="38" grpId="0"/>
      <p:bldP spid="40" grpId="0"/>
      <p:bldP spid="41" grpId="0"/>
      <p:bldP spid="42" grpId="0"/>
      <p:bldP spid="44" grpId="0"/>
      <p:bldP spid="46" grpId="0"/>
      <p:bldP spid="58" grpId="0"/>
      <p:bldP spid="59" grpId="0"/>
      <p:bldP spid="60" grpId="0"/>
      <p:bldP spid="61" grpId="0"/>
      <p:bldP spid="62" grpId="0"/>
      <p:bldP spid="63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Content Placeholder 5">
            <a:extLst>
              <a:ext uri="{FF2B5EF4-FFF2-40B4-BE49-F238E27FC236}">
                <a16:creationId xmlns:a16="http://schemas.microsoft.com/office/drawing/2014/main" id="{3959692C-4A93-402E-9830-2B29643DD17A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26" r="5265"/>
          <a:stretch/>
        </p:blipFill>
        <p:spPr>
          <a:xfrm>
            <a:off x="161551" y="1916832"/>
            <a:ext cx="8820898" cy="388843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5C2A3C77-CF4F-4A05-9A50-BF6DEE6015C5}"/>
              </a:ext>
            </a:extLst>
          </p:cNvPr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544" y="260648"/>
            <a:ext cx="1879600" cy="10394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6920022"/>
      </p:ext>
    </p:extLst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FBBB5A7-F8EA-4876-ABC5-AB3AB3791FB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75656" y="0"/>
            <a:ext cx="612778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656947"/>
      </p:ext>
    </p:extLst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screenshot of a cell phone&#10;&#10;Description automatically generated">
            <a:extLst>
              <a:ext uri="{FF2B5EF4-FFF2-40B4-BE49-F238E27FC236}">
                <a16:creationId xmlns:a16="http://schemas.microsoft.com/office/drawing/2014/main" id="{2B9D47A3-6931-4C57-9631-DA30AAEC657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9552" y="1053636"/>
            <a:ext cx="8064896" cy="4750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3030605"/>
      </p:ext>
    </p:extLst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3"/>
          <p:cNvGrpSpPr>
            <a:grpSpLocks/>
          </p:cNvGrpSpPr>
          <p:nvPr/>
        </p:nvGrpSpPr>
        <p:grpSpPr bwMode="auto">
          <a:xfrm>
            <a:off x="7188927" y="-1955073"/>
            <a:ext cx="3910145" cy="3910145"/>
            <a:chOff x="0" y="0"/>
            <a:chExt cx="3616" cy="3616"/>
          </a:xfrm>
          <a:solidFill>
            <a:schemeClr val="bg1"/>
          </a:solidFill>
        </p:grpSpPr>
        <p:sp>
          <p:nvSpPr>
            <p:cNvPr id="6" name="Oval 4"/>
            <p:cNvSpPr>
              <a:spLocks/>
            </p:cNvSpPr>
            <p:nvPr/>
          </p:nvSpPr>
          <p:spPr bwMode="auto">
            <a:xfrm>
              <a:off x="0" y="0"/>
              <a:ext cx="3616" cy="361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3600">
                  <a:solidFill>
                    <a:schemeClr val="tx1"/>
                  </a:solidFill>
                  <a:latin typeface="GillSans" pitchFamily="-128" charset="0"/>
                  <a:ea typeface="ヒラギノ角ゴ ProN W3" pitchFamily="-128" charset="-128"/>
                  <a:sym typeface="GillSans" pitchFamily="-128" charset="0"/>
                </a:defRPr>
              </a:lvl1pPr>
              <a:lvl2pPr marL="742950" indent="-285750" eaLnBrk="0" hangingPunct="0">
                <a:defRPr sz="3600">
                  <a:solidFill>
                    <a:schemeClr val="tx1"/>
                  </a:solidFill>
                  <a:latin typeface="GillSans" pitchFamily="-128" charset="0"/>
                  <a:ea typeface="ヒラギノ角ゴ ProN W3" pitchFamily="-128" charset="-128"/>
                  <a:sym typeface="GillSans" pitchFamily="-128" charset="0"/>
                </a:defRPr>
              </a:lvl2pPr>
              <a:lvl3pPr marL="1143000" indent="-228600" eaLnBrk="0" hangingPunct="0">
                <a:defRPr sz="3600">
                  <a:solidFill>
                    <a:schemeClr val="tx1"/>
                  </a:solidFill>
                  <a:latin typeface="GillSans" pitchFamily="-128" charset="0"/>
                  <a:ea typeface="ヒラギノ角ゴ ProN W3" pitchFamily="-128" charset="-128"/>
                  <a:sym typeface="GillSans" pitchFamily="-128" charset="0"/>
                </a:defRPr>
              </a:lvl3pPr>
              <a:lvl4pPr marL="1600200" indent="-228600" eaLnBrk="0" hangingPunct="0">
                <a:defRPr sz="3600">
                  <a:solidFill>
                    <a:schemeClr val="tx1"/>
                  </a:solidFill>
                  <a:latin typeface="GillSans" pitchFamily="-128" charset="0"/>
                  <a:ea typeface="ヒラギノ角ゴ ProN W3" pitchFamily="-128" charset="-128"/>
                  <a:sym typeface="GillSans" pitchFamily="-128" charset="0"/>
                </a:defRPr>
              </a:lvl4pPr>
              <a:lvl5pPr marL="2057400" indent="-228600" eaLnBrk="0" hangingPunct="0">
                <a:defRPr sz="3600">
                  <a:solidFill>
                    <a:schemeClr val="tx1"/>
                  </a:solidFill>
                  <a:latin typeface="GillSans" pitchFamily="-128" charset="0"/>
                  <a:ea typeface="ヒラギノ角ゴ ProN W3" pitchFamily="-128" charset="-128"/>
                  <a:sym typeface="GillSans" pitchFamily="-12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chemeClr val="tx1"/>
                  </a:solidFill>
                  <a:latin typeface="GillSans" pitchFamily="-128" charset="0"/>
                  <a:ea typeface="ヒラギノ角ゴ ProN W3" pitchFamily="-128" charset="-128"/>
                  <a:sym typeface="GillSans" pitchFamily="-12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chemeClr val="tx1"/>
                  </a:solidFill>
                  <a:latin typeface="GillSans" pitchFamily="-128" charset="0"/>
                  <a:ea typeface="ヒラギノ角ゴ ProN W3" pitchFamily="-128" charset="-128"/>
                  <a:sym typeface="GillSans" pitchFamily="-12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chemeClr val="tx1"/>
                  </a:solidFill>
                  <a:latin typeface="GillSans" pitchFamily="-128" charset="0"/>
                  <a:ea typeface="ヒラギノ角ゴ ProN W3" pitchFamily="-128" charset="-128"/>
                  <a:sym typeface="GillSans" pitchFamily="-12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chemeClr val="tx1"/>
                  </a:solidFill>
                  <a:latin typeface="GillSans" pitchFamily="-128" charset="0"/>
                  <a:ea typeface="ヒラギノ角ゴ ProN W3" pitchFamily="-128" charset="-128"/>
                  <a:sym typeface="GillSans" pitchFamily="-128" charset="0"/>
                </a:defRPr>
              </a:lvl9pPr>
            </a:lstStyle>
            <a:p>
              <a:pPr eaLnBrk="1" hangingPunct="1">
                <a:defRPr/>
              </a:pPr>
              <a:endParaRPr lang="en-GB" altLang="en-US" sz="4200">
                <a:solidFill>
                  <a:srgbClr val="000000"/>
                </a:solidFill>
              </a:endParaRPr>
            </a:p>
          </p:txBody>
        </p:sp>
        <p:pic>
          <p:nvPicPr>
            <p:cNvPr id="7" name="Picture 5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8" y="1888"/>
              <a:ext cx="1136" cy="1131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6389" name="TextBox 1"/>
          <p:cNvSpPr txBox="1">
            <a:spLocks noChangeArrowheads="1"/>
          </p:cNvSpPr>
          <p:nvPr/>
        </p:nvSpPr>
        <p:spPr bwMode="auto">
          <a:xfrm>
            <a:off x="4272968" y="744913"/>
            <a:ext cx="3813175" cy="64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80000"/>
              </a:spcBef>
              <a:buChar char="§"/>
              <a:defRPr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010A81"/>
              </a:buClr>
              <a:buChar char="•"/>
              <a:defRPr sz="14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-"/>
              <a:defRPr sz="10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200">
                <a:solidFill>
                  <a:schemeClr val="bg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000">
                <a:solidFill>
                  <a:schemeClr val="bg2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000">
                <a:solidFill>
                  <a:schemeClr val="bg2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000">
                <a:solidFill>
                  <a:schemeClr val="bg2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000">
                <a:solidFill>
                  <a:schemeClr val="bg2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000">
                <a:solidFill>
                  <a:schemeClr val="bg2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buFont typeface="Wingdings" pitchFamily="2" charset="2"/>
              <a:buNone/>
            </a:pPr>
            <a:r>
              <a:rPr lang="en-GB" altLang="en-US" sz="3600" dirty="0">
                <a:solidFill>
                  <a:srgbClr val="3165BB"/>
                </a:solidFill>
              </a:rPr>
              <a:t>An Invitation…</a:t>
            </a:r>
          </a:p>
        </p:txBody>
      </p:sp>
      <p:sp>
        <p:nvSpPr>
          <p:cNvPr id="16390" name="TextBox 8"/>
          <p:cNvSpPr txBox="1">
            <a:spLocks noChangeArrowheads="1"/>
          </p:cNvSpPr>
          <p:nvPr/>
        </p:nvSpPr>
        <p:spPr bwMode="auto">
          <a:xfrm>
            <a:off x="4142304" y="5132322"/>
            <a:ext cx="4786313" cy="138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80000"/>
              </a:spcBef>
              <a:buChar char="§"/>
              <a:defRPr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010A81"/>
              </a:buClr>
              <a:buChar char="•"/>
              <a:defRPr sz="14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-"/>
              <a:defRPr sz="10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200">
                <a:solidFill>
                  <a:schemeClr val="bg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000">
                <a:solidFill>
                  <a:schemeClr val="bg2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000">
                <a:solidFill>
                  <a:schemeClr val="bg2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000">
                <a:solidFill>
                  <a:schemeClr val="bg2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000">
                <a:solidFill>
                  <a:schemeClr val="bg2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000">
                <a:solidFill>
                  <a:schemeClr val="bg2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buFont typeface="Wingdings" pitchFamily="2" charset="2"/>
              <a:buNone/>
            </a:pPr>
            <a:r>
              <a:rPr lang="en-GB" altLang="en-US" sz="2800" dirty="0">
                <a:solidFill>
                  <a:srgbClr val="3165BB"/>
                </a:solidFill>
              </a:rPr>
              <a:t>to join our Transformative Innovation Network</a:t>
            </a:r>
          </a:p>
        </p:txBody>
      </p:sp>
      <p:sp>
        <p:nvSpPr>
          <p:cNvPr id="16391" name="TextBox 10"/>
          <p:cNvSpPr txBox="1">
            <a:spLocks noChangeArrowheads="1"/>
          </p:cNvSpPr>
          <p:nvPr/>
        </p:nvSpPr>
        <p:spPr bwMode="auto">
          <a:xfrm>
            <a:off x="450850" y="6218238"/>
            <a:ext cx="3513138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80000"/>
              </a:spcBef>
              <a:buChar char="§"/>
              <a:defRPr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010A81"/>
              </a:buClr>
              <a:buChar char="•"/>
              <a:defRPr sz="14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-"/>
              <a:defRPr sz="10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200">
                <a:solidFill>
                  <a:schemeClr val="bg2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000">
                <a:solidFill>
                  <a:schemeClr val="bg2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000">
                <a:solidFill>
                  <a:schemeClr val="bg2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000">
                <a:solidFill>
                  <a:schemeClr val="bg2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000">
                <a:solidFill>
                  <a:schemeClr val="bg2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000">
                <a:solidFill>
                  <a:schemeClr val="bg2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buFont typeface="Wingdings" pitchFamily="2" charset="2"/>
              <a:buNone/>
            </a:pPr>
            <a:r>
              <a:rPr lang="en-GB" altLang="en-US" sz="2800" dirty="0">
                <a:solidFill>
                  <a:srgbClr val="3165BB"/>
                </a:solidFill>
              </a:rPr>
              <a:t>www.iffpraxis.com</a:t>
            </a:r>
          </a:p>
        </p:txBody>
      </p:sp>
      <p:pic>
        <p:nvPicPr>
          <p:cNvPr id="3" name="Picture 2" descr="A screenshot of a cell phone&#10;&#10;Description automatically generated">
            <a:extLst>
              <a:ext uri="{FF2B5EF4-FFF2-40B4-BE49-F238E27FC236}">
                <a16:creationId xmlns:a16="http://schemas.microsoft.com/office/drawing/2014/main" id="{F8D8B731-5389-4BAC-BE0E-ADF8A91991C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7972" y="620688"/>
            <a:ext cx="3495430" cy="5548491"/>
          </a:xfrm>
          <a:prstGeom prst="rect">
            <a:avLst/>
          </a:prstGeom>
        </p:spPr>
      </p:pic>
      <p:pic>
        <p:nvPicPr>
          <p:cNvPr id="4" name="Picture 3" descr="A screenshot of a cell phone&#10;&#10;Description automatically generated">
            <a:extLst>
              <a:ext uri="{FF2B5EF4-FFF2-40B4-BE49-F238E27FC236}">
                <a16:creationId xmlns:a16="http://schemas.microsoft.com/office/drawing/2014/main" id="{77113AF5-CC32-4F8A-B731-182B0B89E15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20423479">
            <a:off x="4477548" y="2210341"/>
            <a:ext cx="3983420" cy="23464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5165789"/>
      </p:ext>
    </p:extLst>
  </p:cSld>
  <p:clrMapOvr>
    <a:masterClrMapping/>
  </p:clrMapOvr>
  <p:transition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TextBox 1"/>
          <p:cNvSpPr txBox="1">
            <a:spLocks noChangeArrowheads="1"/>
          </p:cNvSpPr>
          <p:nvPr/>
        </p:nvSpPr>
        <p:spPr bwMode="auto">
          <a:xfrm>
            <a:off x="1559347" y="1724025"/>
            <a:ext cx="6025307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4291" tIns="32146" rIns="64291" bIns="32146">
            <a:spAutoFit/>
          </a:bodyPr>
          <a:lstStyle>
            <a:lvl1pPr eaLnBrk="0" hangingPunct="0">
              <a:defRPr sz="3600">
                <a:solidFill>
                  <a:schemeClr val="tx1"/>
                </a:solidFill>
                <a:latin typeface="GillSans" pitchFamily="-128" charset="0"/>
                <a:ea typeface="ヒラギノ角ゴ ProN W3" pitchFamily="-128" charset="-128"/>
                <a:sym typeface="GillSans" pitchFamily="-128" charset="0"/>
              </a:defRPr>
            </a:lvl1pPr>
            <a:lvl2pPr marL="742950" indent="-285750" eaLnBrk="0" hangingPunct="0">
              <a:defRPr sz="3600">
                <a:solidFill>
                  <a:schemeClr val="tx1"/>
                </a:solidFill>
                <a:latin typeface="GillSans" pitchFamily="-128" charset="0"/>
                <a:ea typeface="ヒラギノ角ゴ ProN W3" pitchFamily="-128" charset="-128"/>
                <a:sym typeface="GillSans" pitchFamily="-128" charset="0"/>
              </a:defRPr>
            </a:lvl2pPr>
            <a:lvl3pPr marL="1143000" indent="-228600" eaLnBrk="0" hangingPunct="0">
              <a:defRPr sz="3600">
                <a:solidFill>
                  <a:schemeClr val="tx1"/>
                </a:solidFill>
                <a:latin typeface="GillSans" pitchFamily="-128" charset="0"/>
                <a:ea typeface="ヒラギノ角ゴ ProN W3" pitchFamily="-128" charset="-128"/>
                <a:sym typeface="GillSans" pitchFamily="-128" charset="0"/>
              </a:defRPr>
            </a:lvl3pPr>
            <a:lvl4pPr marL="1600200" indent="-228600" eaLnBrk="0" hangingPunct="0">
              <a:defRPr sz="3600">
                <a:solidFill>
                  <a:schemeClr val="tx1"/>
                </a:solidFill>
                <a:latin typeface="GillSans" pitchFamily="-128" charset="0"/>
                <a:ea typeface="ヒラギノ角ゴ ProN W3" pitchFamily="-128" charset="-128"/>
                <a:sym typeface="GillSans" pitchFamily="-128" charset="0"/>
              </a:defRPr>
            </a:lvl4pPr>
            <a:lvl5pPr marL="2057400" indent="-228600" eaLnBrk="0" hangingPunct="0">
              <a:defRPr sz="3600">
                <a:solidFill>
                  <a:schemeClr val="tx1"/>
                </a:solidFill>
                <a:latin typeface="GillSans" pitchFamily="-128" charset="0"/>
                <a:ea typeface="ヒラギノ角ゴ ProN W3" pitchFamily="-128" charset="-128"/>
                <a:sym typeface="GillSans" pitchFamily="-128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GillSans" pitchFamily="-128" charset="0"/>
                <a:ea typeface="ヒラギノ角ゴ ProN W3" pitchFamily="-128" charset="-128"/>
                <a:sym typeface="GillSans" pitchFamily="-128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GillSans" pitchFamily="-128" charset="0"/>
                <a:ea typeface="ヒラギノ角ゴ ProN W3" pitchFamily="-128" charset="-128"/>
                <a:sym typeface="GillSans" pitchFamily="-128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GillSans" pitchFamily="-128" charset="0"/>
                <a:ea typeface="ヒラギノ角ゴ ProN W3" pitchFamily="-128" charset="-128"/>
                <a:sym typeface="GillSans" pitchFamily="-128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GillSans" pitchFamily="-128" charset="0"/>
                <a:ea typeface="ヒラギノ角ゴ ProN W3" pitchFamily="-128" charset="-128"/>
                <a:sym typeface="GillSans" pitchFamily="-128" charset="0"/>
              </a:defRPr>
            </a:lvl9pPr>
          </a:lstStyle>
          <a:p>
            <a:pPr algn="ctr" eaLnBrk="1" hangingPunct="1"/>
            <a:r>
              <a:rPr lang="en-GB" altLang="en-US" sz="4200" dirty="0">
                <a:solidFill>
                  <a:srgbClr val="005DA2"/>
                </a:solidFill>
              </a:rPr>
              <a:t>Thank you</a:t>
            </a:r>
          </a:p>
        </p:txBody>
      </p:sp>
      <p:sp>
        <p:nvSpPr>
          <p:cNvPr id="34819" name="TextBox 2"/>
          <p:cNvSpPr txBox="1">
            <a:spLocks noChangeArrowheads="1"/>
          </p:cNvSpPr>
          <p:nvPr/>
        </p:nvSpPr>
        <p:spPr bwMode="auto">
          <a:xfrm>
            <a:off x="1053145" y="3048000"/>
            <a:ext cx="7037710" cy="988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4291" tIns="32146" rIns="64291" bIns="32146">
            <a:spAutoFit/>
          </a:bodyPr>
          <a:lstStyle>
            <a:lvl1pPr eaLnBrk="0" hangingPunct="0">
              <a:defRPr sz="3600">
                <a:solidFill>
                  <a:schemeClr val="tx1"/>
                </a:solidFill>
                <a:latin typeface="GillSans" pitchFamily="-128" charset="0"/>
                <a:ea typeface="ヒラギノ角ゴ ProN W3" pitchFamily="-128" charset="-128"/>
                <a:sym typeface="GillSans" pitchFamily="-128" charset="0"/>
              </a:defRPr>
            </a:lvl1pPr>
            <a:lvl2pPr marL="742950" indent="-285750" eaLnBrk="0" hangingPunct="0">
              <a:defRPr sz="3600">
                <a:solidFill>
                  <a:schemeClr val="tx1"/>
                </a:solidFill>
                <a:latin typeface="GillSans" pitchFamily="-128" charset="0"/>
                <a:ea typeface="ヒラギノ角ゴ ProN W3" pitchFamily="-128" charset="-128"/>
                <a:sym typeface="GillSans" pitchFamily="-128" charset="0"/>
              </a:defRPr>
            </a:lvl2pPr>
            <a:lvl3pPr marL="1143000" indent="-228600" eaLnBrk="0" hangingPunct="0">
              <a:defRPr sz="3600">
                <a:solidFill>
                  <a:schemeClr val="tx1"/>
                </a:solidFill>
                <a:latin typeface="GillSans" pitchFamily="-128" charset="0"/>
                <a:ea typeface="ヒラギノ角ゴ ProN W3" pitchFamily="-128" charset="-128"/>
                <a:sym typeface="GillSans" pitchFamily="-128" charset="0"/>
              </a:defRPr>
            </a:lvl3pPr>
            <a:lvl4pPr marL="1600200" indent="-228600" eaLnBrk="0" hangingPunct="0">
              <a:defRPr sz="3600">
                <a:solidFill>
                  <a:schemeClr val="tx1"/>
                </a:solidFill>
                <a:latin typeface="GillSans" pitchFamily="-128" charset="0"/>
                <a:ea typeface="ヒラギノ角ゴ ProN W3" pitchFamily="-128" charset="-128"/>
                <a:sym typeface="GillSans" pitchFamily="-128" charset="0"/>
              </a:defRPr>
            </a:lvl4pPr>
            <a:lvl5pPr marL="2057400" indent="-228600" eaLnBrk="0" hangingPunct="0">
              <a:defRPr sz="3600">
                <a:solidFill>
                  <a:schemeClr val="tx1"/>
                </a:solidFill>
                <a:latin typeface="GillSans" pitchFamily="-128" charset="0"/>
                <a:ea typeface="ヒラギノ角ゴ ProN W3" pitchFamily="-128" charset="-128"/>
                <a:sym typeface="GillSans" pitchFamily="-128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GillSans" pitchFamily="-128" charset="0"/>
                <a:ea typeface="ヒラギノ角ゴ ProN W3" pitchFamily="-128" charset="-128"/>
                <a:sym typeface="GillSans" pitchFamily="-128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GillSans" pitchFamily="-128" charset="0"/>
                <a:ea typeface="ヒラギノ角ゴ ProN W3" pitchFamily="-128" charset="-128"/>
                <a:sym typeface="GillSans" pitchFamily="-128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GillSans" pitchFamily="-128" charset="0"/>
                <a:ea typeface="ヒラギノ角ゴ ProN W3" pitchFamily="-128" charset="-128"/>
                <a:sym typeface="GillSans" pitchFamily="-128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GillSans" pitchFamily="-128" charset="0"/>
                <a:ea typeface="ヒラギノ角ゴ ProN W3" pitchFamily="-128" charset="-128"/>
                <a:sym typeface="GillSans" pitchFamily="-128" charset="0"/>
              </a:defRPr>
            </a:lvl9pPr>
          </a:lstStyle>
          <a:p>
            <a:pPr algn="ctr" eaLnBrk="1" hangingPunct="1"/>
            <a:r>
              <a:rPr lang="en-GB" altLang="en-US" sz="3000" dirty="0">
                <a:solidFill>
                  <a:srgbClr val="005DA2"/>
                </a:solidFill>
              </a:rPr>
              <a:t>margaret@internationalfuturesforum.com</a:t>
            </a:r>
          </a:p>
          <a:p>
            <a:pPr algn="ctr" eaLnBrk="1" hangingPunct="1"/>
            <a:r>
              <a:rPr lang="en-GB" altLang="en-US" sz="3000" dirty="0">
                <a:solidFill>
                  <a:srgbClr val="005DA2"/>
                </a:solidFill>
              </a:rPr>
              <a:t>@</a:t>
            </a:r>
            <a:r>
              <a:rPr lang="en-GB" altLang="en-US" sz="3000" dirty="0" err="1">
                <a:solidFill>
                  <a:srgbClr val="005DA2"/>
                </a:solidFill>
              </a:rPr>
              <a:t>margaret_iff</a:t>
            </a:r>
            <a:endParaRPr lang="en-GB" altLang="en-US" sz="3000" dirty="0">
              <a:solidFill>
                <a:srgbClr val="005DA2"/>
              </a:solidFill>
            </a:endParaRPr>
          </a:p>
        </p:txBody>
      </p:sp>
      <p:sp>
        <p:nvSpPr>
          <p:cNvPr id="4" name="TextBox 1">
            <a:extLst>
              <a:ext uri="{FF2B5EF4-FFF2-40B4-BE49-F238E27FC236}">
                <a16:creationId xmlns:a16="http://schemas.microsoft.com/office/drawing/2014/main" id="{98FE422B-C783-44D1-A5AF-B2699BDE126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59347" y="4267200"/>
            <a:ext cx="6025307" cy="7112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4291" tIns="32146" rIns="64291" bIns="32146">
            <a:spAutoFit/>
          </a:bodyPr>
          <a:lstStyle>
            <a:lvl1pPr eaLnBrk="0" hangingPunct="0">
              <a:defRPr sz="3600">
                <a:solidFill>
                  <a:schemeClr val="tx1"/>
                </a:solidFill>
                <a:latin typeface="GillSans" pitchFamily="-128" charset="0"/>
                <a:ea typeface="ヒラギノ角ゴ ProN W3" pitchFamily="-128" charset="-128"/>
                <a:sym typeface="GillSans" pitchFamily="-128" charset="0"/>
              </a:defRPr>
            </a:lvl1pPr>
            <a:lvl2pPr marL="742950" indent="-285750" eaLnBrk="0" hangingPunct="0">
              <a:defRPr sz="3600">
                <a:solidFill>
                  <a:schemeClr val="tx1"/>
                </a:solidFill>
                <a:latin typeface="GillSans" pitchFamily="-128" charset="0"/>
                <a:ea typeface="ヒラギノ角ゴ ProN W3" pitchFamily="-128" charset="-128"/>
                <a:sym typeface="GillSans" pitchFamily="-128" charset="0"/>
              </a:defRPr>
            </a:lvl2pPr>
            <a:lvl3pPr marL="1143000" indent="-228600" eaLnBrk="0" hangingPunct="0">
              <a:defRPr sz="3600">
                <a:solidFill>
                  <a:schemeClr val="tx1"/>
                </a:solidFill>
                <a:latin typeface="GillSans" pitchFamily="-128" charset="0"/>
                <a:ea typeface="ヒラギノ角ゴ ProN W3" pitchFamily="-128" charset="-128"/>
                <a:sym typeface="GillSans" pitchFamily="-128" charset="0"/>
              </a:defRPr>
            </a:lvl3pPr>
            <a:lvl4pPr marL="1600200" indent="-228600" eaLnBrk="0" hangingPunct="0">
              <a:defRPr sz="3600">
                <a:solidFill>
                  <a:schemeClr val="tx1"/>
                </a:solidFill>
                <a:latin typeface="GillSans" pitchFamily="-128" charset="0"/>
                <a:ea typeface="ヒラギノ角ゴ ProN W3" pitchFamily="-128" charset="-128"/>
                <a:sym typeface="GillSans" pitchFamily="-128" charset="0"/>
              </a:defRPr>
            </a:lvl4pPr>
            <a:lvl5pPr marL="2057400" indent="-228600" eaLnBrk="0" hangingPunct="0">
              <a:defRPr sz="3600">
                <a:solidFill>
                  <a:schemeClr val="tx1"/>
                </a:solidFill>
                <a:latin typeface="GillSans" pitchFamily="-128" charset="0"/>
                <a:ea typeface="ヒラギノ角ゴ ProN W3" pitchFamily="-128" charset="-128"/>
                <a:sym typeface="GillSans" pitchFamily="-128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GillSans" pitchFamily="-128" charset="0"/>
                <a:ea typeface="ヒラギノ角ゴ ProN W3" pitchFamily="-128" charset="-128"/>
                <a:sym typeface="GillSans" pitchFamily="-128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GillSans" pitchFamily="-128" charset="0"/>
                <a:ea typeface="ヒラギノ角ゴ ProN W3" pitchFamily="-128" charset="-128"/>
                <a:sym typeface="GillSans" pitchFamily="-128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GillSans" pitchFamily="-128" charset="0"/>
                <a:ea typeface="ヒラギノ角ゴ ProN W3" pitchFamily="-128" charset="-128"/>
                <a:sym typeface="GillSans" pitchFamily="-128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GillSans" pitchFamily="-128" charset="0"/>
                <a:ea typeface="ヒラギノ角ゴ ProN W3" pitchFamily="-128" charset="-128"/>
                <a:sym typeface="GillSans" pitchFamily="-128" charset="0"/>
              </a:defRPr>
            </a:lvl9pPr>
          </a:lstStyle>
          <a:p>
            <a:pPr algn="ctr" eaLnBrk="1" hangingPunct="1"/>
            <a:r>
              <a:rPr lang="en-GB" altLang="en-US" sz="4200" dirty="0">
                <a:solidFill>
                  <a:srgbClr val="005DA2"/>
                </a:solidFill>
              </a:rPr>
              <a:t>www.iffpraxis.com</a:t>
            </a:r>
          </a:p>
        </p:txBody>
      </p:sp>
    </p:spTree>
    <p:extLst>
      <p:ext uri="{BB962C8B-B14F-4D97-AF65-F5344CB8AC3E}">
        <p14:creationId xmlns:p14="http://schemas.microsoft.com/office/powerpoint/2010/main" val="3330330216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2">
            <a:extLst>
              <a:ext uri="{FF2B5EF4-FFF2-40B4-BE49-F238E27FC236}">
                <a16:creationId xmlns:a16="http://schemas.microsoft.com/office/drawing/2014/main" id="{B65713F5-64A5-4917-94C2-016C965EA47C}"/>
              </a:ext>
            </a:extLst>
          </p:cNvPr>
          <p:cNvSpPr>
            <a:spLocks/>
          </p:cNvSpPr>
          <p:nvPr/>
        </p:nvSpPr>
        <p:spPr bwMode="auto">
          <a:xfrm>
            <a:off x="602443" y="1730055"/>
            <a:ext cx="7954739" cy="1714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3600">
                <a:solidFill>
                  <a:schemeClr val="tx1"/>
                </a:solidFill>
                <a:latin typeface="GillSans" pitchFamily="-128" charset="0"/>
                <a:ea typeface="ヒラギノ角ゴ ProN W3" pitchFamily="-128" charset="-128"/>
                <a:sym typeface="GillSans" pitchFamily="-128" charset="0"/>
              </a:defRPr>
            </a:lvl1pPr>
            <a:lvl2pPr marL="742950" indent="-285750" eaLnBrk="0" hangingPunct="0">
              <a:defRPr sz="3600">
                <a:solidFill>
                  <a:schemeClr val="tx1"/>
                </a:solidFill>
                <a:latin typeface="GillSans" pitchFamily="-128" charset="0"/>
                <a:ea typeface="ヒラギノ角ゴ ProN W3" pitchFamily="-128" charset="-128"/>
                <a:sym typeface="GillSans" pitchFamily="-128" charset="0"/>
              </a:defRPr>
            </a:lvl2pPr>
            <a:lvl3pPr marL="1143000" indent="-228600" eaLnBrk="0" hangingPunct="0">
              <a:defRPr sz="3600">
                <a:solidFill>
                  <a:schemeClr val="tx1"/>
                </a:solidFill>
                <a:latin typeface="GillSans" pitchFamily="-128" charset="0"/>
                <a:ea typeface="ヒラギノ角ゴ ProN W3" pitchFamily="-128" charset="-128"/>
                <a:sym typeface="GillSans" pitchFamily="-128" charset="0"/>
              </a:defRPr>
            </a:lvl3pPr>
            <a:lvl4pPr marL="1600200" indent="-228600" eaLnBrk="0" hangingPunct="0">
              <a:defRPr sz="3600">
                <a:solidFill>
                  <a:schemeClr val="tx1"/>
                </a:solidFill>
                <a:latin typeface="GillSans" pitchFamily="-128" charset="0"/>
                <a:ea typeface="ヒラギノ角ゴ ProN W3" pitchFamily="-128" charset="-128"/>
                <a:sym typeface="GillSans" pitchFamily="-128" charset="0"/>
              </a:defRPr>
            </a:lvl4pPr>
            <a:lvl5pPr marL="2057400" indent="-228600" eaLnBrk="0" hangingPunct="0">
              <a:defRPr sz="3600">
                <a:solidFill>
                  <a:schemeClr val="tx1"/>
                </a:solidFill>
                <a:latin typeface="GillSans" pitchFamily="-128" charset="0"/>
                <a:ea typeface="ヒラギノ角ゴ ProN W3" pitchFamily="-128" charset="-128"/>
                <a:sym typeface="GillSans" pitchFamily="-128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GillSans" pitchFamily="-128" charset="0"/>
                <a:ea typeface="ヒラギノ角ゴ ProN W3" pitchFamily="-128" charset="-128"/>
                <a:sym typeface="GillSans" pitchFamily="-128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GillSans" pitchFamily="-128" charset="0"/>
                <a:ea typeface="ヒラギノ角ゴ ProN W3" pitchFamily="-128" charset="-128"/>
                <a:sym typeface="GillSans" pitchFamily="-128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GillSans" pitchFamily="-128" charset="0"/>
                <a:ea typeface="ヒラギノ角ゴ ProN W3" pitchFamily="-128" charset="-128"/>
                <a:sym typeface="GillSans" pitchFamily="-128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GillSans" pitchFamily="-128" charset="0"/>
                <a:ea typeface="ヒラギノ角ゴ ProN W3" pitchFamily="-128" charset="-128"/>
                <a:sym typeface="GillSans" pitchFamily="-128" charset="0"/>
              </a:defRPr>
            </a:lvl9pPr>
          </a:lstStyle>
          <a:p>
            <a:pPr algn="ctr" eaLnBrk="1" hangingPunct="1"/>
            <a:r>
              <a:rPr lang="en-US" altLang="en-US" sz="4400" dirty="0">
                <a:solidFill>
                  <a:srgbClr val="2B65AD"/>
                </a:solidFill>
                <a:latin typeface="GillSans Light" pitchFamily="-128" charset="0"/>
                <a:sym typeface="GillSans Light" pitchFamily="-128" charset="0"/>
              </a:rPr>
              <a:t>“How to take effective and responsible action in a world we do not understand and cannot control?”</a:t>
            </a:r>
            <a:endParaRPr lang="en-US" altLang="en-US" sz="2800" dirty="0">
              <a:solidFill>
                <a:srgbClr val="2B65AD"/>
              </a:solidFill>
              <a:latin typeface="GillSans Light" pitchFamily="-128" charset="0"/>
              <a:sym typeface="GillSans Light" pitchFamily="-128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5237725-E0C2-461C-879B-A5FE64550AFA}"/>
              </a:ext>
            </a:extLst>
          </p:cNvPr>
          <p:cNvSpPr/>
          <p:nvPr/>
        </p:nvSpPr>
        <p:spPr>
          <a:xfrm>
            <a:off x="1580915" y="4725144"/>
            <a:ext cx="5997796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altLang="en-US" sz="2800" dirty="0">
                <a:solidFill>
                  <a:srgbClr val="005DA2"/>
                </a:solidFill>
                <a:latin typeface="GillSans Light"/>
              </a:rPr>
              <a:t>International Futures Forum (IFF):  2001</a:t>
            </a:r>
          </a:p>
        </p:txBody>
      </p:sp>
    </p:spTree>
    <p:extLst>
      <p:ext uri="{BB962C8B-B14F-4D97-AF65-F5344CB8AC3E}">
        <p14:creationId xmlns:p14="http://schemas.microsoft.com/office/powerpoint/2010/main" val="4281025188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2">
            <a:extLst>
              <a:ext uri="{FF2B5EF4-FFF2-40B4-BE49-F238E27FC236}">
                <a16:creationId xmlns:a16="http://schemas.microsoft.com/office/drawing/2014/main" id="{B65713F5-64A5-4917-94C2-016C965EA47C}"/>
              </a:ext>
            </a:extLst>
          </p:cNvPr>
          <p:cNvSpPr>
            <a:spLocks/>
          </p:cNvSpPr>
          <p:nvPr/>
        </p:nvSpPr>
        <p:spPr bwMode="auto">
          <a:xfrm>
            <a:off x="602443" y="1730055"/>
            <a:ext cx="7954739" cy="1714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3600">
                <a:solidFill>
                  <a:schemeClr val="tx1"/>
                </a:solidFill>
                <a:latin typeface="GillSans" pitchFamily="-128" charset="0"/>
                <a:ea typeface="ヒラギノ角ゴ ProN W3" pitchFamily="-128" charset="-128"/>
                <a:sym typeface="GillSans" pitchFamily="-128" charset="0"/>
              </a:defRPr>
            </a:lvl1pPr>
            <a:lvl2pPr marL="742950" indent="-285750" eaLnBrk="0" hangingPunct="0">
              <a:defRPr sz="3600">
                <a:solidFill>
                  <a:schemeClr val="tx1"/>
                </a:solidFill>
                <a:latin typeface="GillSans" pitchFamily="-128" charset="0"/>
                <a:ea typeface="ヒラギノ角ゴ ProN W3" pitchFamily="-128" charset="-128"/>
                <a:sym typeface="GillSans" pitchFamily="-128" charset="0"/>
              </a:defRPr>
            </a:lvl2pPr>
            <a:lvl3pPr marL="1143000" indent="-228600" eaLnBrk="0" hangingPunct="0">
              <a:defRPr sz="3600">
                <a:solidFill>
                  <a:schemeClr val="tx1"/>
                </a:solidFill>
                <a:latin typeface="GillSans" pitchFamily="-128" charset="0"/>
                <a:ea typeface="ヒラギノ角ゴ ProN W3" pitchFamily="-128" charset="-128"/>
                <a:sym typeface="GillSans" pitchFamily="-128" charset="0"/>
              </a:defRPr>
            </a:lvl3pPr>
            <a:lvl4pPr marL="1600200" indent="-228600" eaLnBrk="0" hangingPunct="0">
              <a:defRPr sz="3600">
                <a:solidFill>
                  <a:schemeClr val="tx1"/>
                </a:solidFill>
                <a:latin typeface="GillSans" pitchFamily="-128" charset="0"/>
                <a:ea typeface="ヒラギノ角ゴ ProN W3" pitchFamily="-128" charset="-128"/>
                <a:sym typeface="GillSans" pitchFamily="-128" charset="0"/>
              </a:defRPr>
            </a:lvl4pPr>
            <a:lvl5pPr marL="2057400" indent="-228600" eaLnBrk="0" hangingPunct="0">
              <a:defRPr sz="3600">
                <a:solidFill>
                  <a:schemeClr val="tx1"/>
                </a:solidFill>
                <a:latin typeface="GillSans" pitchFamily="-128" charset="0"/>
                <a:ea typeface="ヒラギノ角ゴ ProN W3" pitchFamily="-128" charset="-128"/>
                <a:sym typeface="GillSans" pitchFamily="-128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GillSans" pitchFamily="-128" charset="0"/>
                <a:ea typeface="ヒラギノ角ゴ ProN W3" pitchFamily="-128" charset="-128"/>
                <a:sym typeface="GillSans" pitchFamily="-128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GillSans" pitchFamily="-128" charset="0"/>
                <a:ea typeface="ヒラギノ角ゴ ProN W3" pitchFamily="-128" charset="-128"/>
                <a:sym typeface="GillSans" pitchFamily="-128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GillSans" pitchFamily="-128" charset="0"/>
                <a:ea typeface="ヒラギノ角ゴ ProN W3" pitchFamily="-128" charset="-128"/>
                <a:sym typeface="GillSans" pitchFamily="-128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GillSans" pitchFamily="-128" charset="0"/>
                <a:ea typeface="ヒラギノ角ゴ ProN W3" pitchFamily="-128" charset="-128"/>
                <a:sym typeface="GillSans" pitchFamily="-128" charset="0"/>
              </a:defRPr>
            </a:lvl9pPr>
          </a:lstStyle>
          <a:p>
            <a:pPr algn="ctr" eaLnBrk="1" hangingPunct="1"/>
            <a:endParaRPr lang="en-US" altLang="en-US" sz="2800" dirty="0">
              <a:solidFill>
                <a:srgbClr val="2B65AD"/>
              </a:solidFill>
              <a:latin typeface="GillSans Light" pitchFamily="-128" charset="0"/>
              <a:sym typeface="GillSans Light" pitchFamily="-128" charset="0"/>
            </a:endParaRPr>
          </a:p>
        </p:txBody>
      </p:sp>
      <p:graphicFrame>
        <p:nvGraphicFramePr>
          <p:cNvPr id="2" name="Object 1">
            <a:extLst>
              <a:ext uri="{FF2B5EF4-FFF2-40B4-BE49-F238E27FC236}">
                <a16:creationId xmlns:a16="http://schemas.microsoft.com/office/drawing/2014/main" id="{42018473-464B-4447-8D80-CF1277AB37C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393864663"/>
              </p:ext>
            </p:extLst>
          </p:nvPr>
        </p:nvGraphicFramePr>
        <p:xfrm>
          <a:off x="2305050" y="222250"/>
          <a:ext cx="4533900" cy="64150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0" name="Acrobat Document" r:id="rId3" imgW="4533723" imgH="6415677" progId="AcroExch.Document.DC">
                  <p:embed/>
                </p:oleObj>
              </mc:Choice>
              <mc:Fallback>
                <p:oleObj name="Acrobat Document" r:id="rId3" imgW="4533723" imgH="6415677" progId="AcroExch.Document.DC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05050" y="222250"/>
                        <a:ext cx="4533900" cy="64150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733EAFE1-5AB3-4B3A-B4F0-77CDCE6D7BFE}"/>
              </a:ext>
            </a:extLst>
          </p:cNvPr>
          <p:cNvSpPr txBox="1"/>
          <p:nvPr/>
        </p:nvSpPr>
        <p:spPr>
          <a:xfrm>
            <a:off x="7164288" y="6165304"/>
            <a:ext cx="512961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1200"/>
              </a:spcBef>
              <a:buSzPct val="25000"/>
            </a:pPr>
            <a:r>
              <a:rPr lang="en-GB" dirty="0">
                <a:solidFill>
                  <a:schemeClr val="tx2"/>
                </a:solidFill>
              </a:rPr>
              <a:t>2009</a:t>
            </a:r>
          </a:p>
        </p:txBody>
      </p:sp>
    </p:spTree>
    <p:extLst>
      <p:ext uri="{BB962C8B-B14F-4D97-AF65-F5344CB8AC3E}">
        <p14:creationId xmlns:p14="http://schemas.microsoft.com/office/powerpoint/2010/main" val="2401554298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49" name="Picture 3" descr="arm and a leg 2015 version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3300" y="495300"/>
            <a:ext cx="7137400" cy="586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04635956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/>
        </p:nvGrpSpPr>
        <p:grpSpPr>
          <a:xfrm>
            <a:off x="1280160" y="2143125"/>
            <a:ext cx="6583680" cy="3352800"/>
            <a:chOff x="685800" y="2286000"/>
            <a:chExt cx="6583680" cy="3352800"/>
          </a:xfrm>
        </p:grpSpPr>
        <p:cxnSp>
          <p:nvCxnSpPr>
            <p:cNvPr id="7" name="Straight Arrow Connector 6"/>
            <p:cNvCxnSpPr/>
            <p:nvPr/>
          </p:nvCxnSpPr>
          <p:spPr>
            <a:xfrm>
              <a:off x="685800" y="2286000"/>
              <a:ext cx="0" cy="3352800"/>
            </a:xfrm>
            <a:prstGeom prst="straightConnector1">
              <a:avLst/>
            </a:prstGeom>
            <a:ln>
              <a:solidFill>
                <a:schemeClr val="bg2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Arrow Connector 7"/>
            <p:cNvCxnSpPr/>
            <p:nvPr/>
          </p:nvCxnSpPr>
          <p:spPr>
            <a:xfrm flipH="1" flipV="1">
              <a:off x="685800" y="5638800"/>
              <a:ext cx="6583680" cy="0"/>
            </a:xfrm>
            <a:prstGeom prst="straightConnector1">
              <a:avLst/>
            </a:prstGeom>
            <a:ln>
              <a:solidFill>
                <a:schemeClr val="bg2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ext Placeholder 3"/>
          <p:cNvSpPr>
            <a:spLocks noGrp="1"/>
          </p:cNvSpPr>
          <p:nvPr>
            <p:ph type="body" sz="quarter" idx="4294967295"/>
          </p:nvPr>
        </p:nvSpPr>
        <p:spPr>
          <a:xfrm>
            <a:off x="609600" y="2133600"/>
            <a:ext cx="441325" cy="153987"/>
          </a:xfrm>
        </p:spPr>
        <p:txBody>
          <a:bodyPr wrap="none">
            <a:spAutoFit/>
          </a:bodyPr>
          <a:lstStyle/>
          <a:p>
            <a:pPr algn="ctr">
              <a:buNone/>
            </a:pPr>
            <a:r>
              <a:rPr lang="en-US" sz="1000" b="1" dirty="0"/>
              <a:t>Pattern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4294967295"/>
          </p:nvPr>
        </p:nvSpPr>
        <p:spPr>
          <a:xfrm>
            <a:off x="304800" y="782638"/>
            <a:ext cx="8108950" cy="757237"/>
          </a:xfrm>
        </p:spPr>
        <p:txBody>
          <a:bodyPr/>
          <a:lstStyle/>
          <a:p>
            <a:r>
              <a:rPr lang="en-US" sz="2400" dirty="0">
                <a:solidFill>
                  <a:schemeClr val="tx1"/>
                </a:solidFill>
              </a:rPr>
              <a:t>Making sense of the landscape of change through three perspectives on the future potential of the present moment</a:t>
            </a:r>
          </a:p>
        </p:txBody>
      </p:sp>
      <p:sp>
        <p:nvSpPr>
          <p:cNvPr id="28" name="Text Placeholder 3"/>
          <p:cNvSpPr txBox="1">
            <a:spLocks/>
          </p:cNvSpPr>
          <p:nvPr/>
        </p:nvSpPr>
        <p:spPr bwMode="gray">
          <a:xfrm>
            <a:off x="7442432" y="5646978"/>
            <a:ext cx="298160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buSzPct val="25000"/>
              <a:buFont typeface="Arial" panose="020B0604020202020204" pitchFamily="34" charset="0"/>
              <a:buChar char="‏"/>
              <a:defRPr sz="18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03200" indent="-203200" algn="l" defTabSz="914400" rtl="0" eaLnBrk="1" latinLnBrk="0" hangingPunct="1">
              <a:spcBef>
                <a:spcPts val="600"/>
              </a:spcBef>
              <a:buClrTx/>
              <a:buSzPct val="100000"/>
              <a:buFont typeface="Arial"/>
              <a:buChar char="•"/>
              <a:defRPr lang="en-US" sz="18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431800" indent="-203200" algn="l" defTabSz="914400" rtl="0" eaLnBrk="1" latinLnBrk="0" hangingPunct="1">
              <a:spcBef>
                <a:spcPts val="600"/>
              </a:spcBef>
              <a:buClrTx/>
              <a:buSzPct val="100000"/>
              <a:buFont typeface="Arial"/>
              <a:buChar char="−"/>
              <a:defRPr lang="en-US" sz="18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660400" indent="-203200" algn="l" defTabSz="914400" rtl="0" eaLnBrk="1" latinLnBrk="0" hangingPunct="1">
              <a:spcBef>
                <a:spcPts val="600"/>
              </a:spcBef>
              <a:buClrTx/>
              <a:buSzPct val="100000"/>
              <a:buFont typeface="Arial"/>
              <a:buChar char="◦"/>
              <a:defRPr lang="en-US" sz="16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89000" indent="-203200" algn="l" defTabSz="798513" rtl="0" eaLnBrk="1" latinLnBrk="0" hangingPunct="1">
              <a:spcBef>
                <a:spcPts val="600"/>
              </a:spcBef>
              <a:buClrTx/>
              <a:buSzPct val="100000"/>
              <a:buFont typeface="Arial"/>
              <a:buChar char="−"/>
              <a:tabLst/>
              <a:defRPr lang="en-US" sz="16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Font typeface="Arial" panose="020B0604020202020204" pitchFamily="34" charset="0"/>
              <a:buNone/>
            </a:pPr>
            <a:r>
              <a:rPr lang="en-US" sz="1000" b="1" dirty="0"/>
              <a:t>Time</a:t>
            </a: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9" name="Ink 8"/>
              <p14:cNvContentPartPr/>
              <p14:nvPr/>
            </p14:nvContentPartPr>
            <p14:xfrm>
              <a:off x="10530716" y="1617860"/>
              <a:ext cx="360" cy="360"/>
            </p14:xfrm>
          </p:contentPart>
        </mc:Choice>
        <mc:Fallback xmlns:mv="urn:schemas-microsoft-com:mac:vml" xmlns="">
          <p:pic>
            <p:nvPicPr>
              <p:cNvPr id="9" name="Ink 8"/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0518836" y="1605980"/>
                <a:ext cx="24120" cy="24120"/>
              </a:xfrm>
              <a:prstGeom prst="rect">
                <a:avLst/>
              </a:prstGeom>
            </p:spPr>
          </p:pic>
        </mc:Fallback>
      </mc:AlternateContent>
      <p:sp>
        <p:nvSpPr>
          <p:cNvPr id="5" name="Freeform 4"/>
          <p:cNvSpPr/>
          <p:nvPr/>
        </p:nvSpPr>
        <p:spPr bwMode="gray">
          <a:xfrm>
            <a:off x="1272209" y="2570508"/>
            <a:ext cx="6192078" cy="2534478"/>
          </a:xfrm>
          <a:custGeom>
            <a:avLst/>
            <a:gdLst>
              <a:gd name="connsiteX0" fmla="*/ 0 w 6192078"/>
              <a:gd name="connsiteY0" fmla="*/ 0 h 2534478"/>
              <a:gd name="connsiteX1" fmla="*/ 3160643 w 6192078"/>
              <a:gd name="connsiteY1" fmla="*/ 1341782 h 2534478"/>
              <a:gd name="connsiteX2" fmla="*/ 6192078 w 6192078"/>
              <a:gd name="connsiteY2" fmla="*/ 2534478 h 25344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192078" h="2534478">
                <a:moveTo>
                  <a:pt x="0" y="0"/>
                </a:moveTo>
                <a:lnTo>
                  <a:pt x="3160643" y="1341782"/>
                </a:lnTo>
                <a:cubicBezTo>
                  <a:pt x="4192656" y="1764195"/>
                  <a:pt x="5685182" y="2054087"/>
                  <a:pt x="6192078" y="2534478"/>
                </a:cubicBezTo>
              </a:path>
            </a:pathLst>
          </a:custGeom>
          <a:noFill/>
          <a:ln w="19050" algn="ctr">
            <a:noFill/>
            <a:miter lim="800000"/>
            <a:headEnd/>
            <a:tailEnd/>
          </a:ln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reeform 5"/>
          <p:cNvSpPr/>
          <p:nvPr/>
        </p:nvSpPr>
        <p:spPr bwMode="gray">
          <a:xfrm>
            <a:off x="1292087" y="2494916"/>
            <a:ext cx="6416784" cy="2703889"/>
          </a:xfrm>
          <a:custGeom>
            <a:avLst/>
            <a:gdLst>
              <a:gd name="connsiteX0" fmla="*/ 0 w 6416784"/>
              <a:gd name="connsiteY0" fmla="*/ 125287 h 2703889"/>
              <a:gd name="connsiteX1" fmla="*/ 1043609 w 6416784"/>
              <a:gd name="connsiteY1" fmla="*/ 125287 h 2703889"/>
              <a:gd name="connsiteX2" fmla="*/ 3120887 w 6416784"/>
              <a:gd name="connsiteY2" fmla="*/ 1427313 h 2703889"/>
              <a:gd name="connsiteX3" fmla="*/ 5178287 w 6416784"/>
              <a:gd name="connsiteY3" fmla="*/ 2500739 h 2703889"/>
              <a:gd name="connsiteX4" fmla="*/ 6202017 w 6416784"/>
              <a:gd name="connsiteY4" fmla="*/ 2610070 h 27038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416784" h="2703889">
                <a:moveTo>
                  <a:pt x="0" y="125287"/>
                </a:moveTo>
                <a:cubicBezTo>
                  <a:pt x="261730" y="16785"/>
                  <a:pt x="523461" y="-91717"/>
                  <a:pt x="1043609" y="125287"/>
                </a:cubicBezTo>
                <a:cubicBezTo>
                  <a:pt x="1563757" y="342291"/>
                  <a:pt x="2431774" y="1031404"/>
                  <a:pt x="3120887" y="1427313"/>
                </a:cubicBezTo>
                <a:cubicBezTo>
                  <a:pt x="3810000" y="1823222"/>
                  <a:pt x="4664765" y="2303613"/>
                  <a:pt x="5178287" y="2500739"/>
                </a:cubicBezTo>
                <a:cubicBezTo>
                  <a:pt x="5691809" y="2697865"/>
                  <a:pt x="6907695" y="2784005"/>
                  <a:pt x="6202017" y="2610070"/>
                </a:cubicBezTo>
              </a:path>
            </a:pathLst>
          </a:custGeom>
          <a:noFill/>
          <a:ln w="19050" algn="ctr">
            <a:noFill/>
            <a:miter lim="800000"/>
            <a:headEnd/>
            <a:tailEnd/>
          </a:ln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Freeform 14"/>
          <p:cNvSpPr/>
          <p:nvPr/>
        </p:nvSpPr>
        <p:spPr bwMode="gray">
          <a:xfrm>
            <a:off x="1295400" y="2504435"/>
            <a:ext cx="6172200" cy="2620429"/>
          </a:xfrm>
          <a:custGeom>
            <a:avLst/>
            <a:gdLst>
              <a:gd name="connsiteX0" fmla="*/ 0 w 6172200"/>
              <a:gd name="connsiteY0" fmla="*/ 170356 h 2694895"/>
              <a:gd name="connsiteX1" fmla="*/ 1003853 w 6172200"/>
              <a:gd name="connsiteY1" fmla="*/ 100782 h 2694895"/>
              <a:gd name="connsiteX2" fmla="*/ 2872409 w 6172200"/>
              <a:gd name="connsiteY2" fmla="*/ 1363052 h 2694895"/>
              <a:gd name="connsiteX3" fmla="*/ 4721087 w 6172200"/>
              <a:gd name="connsiteY3" fmla="*/ 2436478 h 2694895"/>
              <a:gd name="connsiteX4" fmla="*/ 6172200 w 6172200"/>
              <a:gd name="connsiteY4" fmla="*/ 2694895 h 2694895"/>
              <a:gd name="connsiteX0" fmla="*/ 0 w 6172200"/>
              <a:gd name="connsiteY0" fmla="*/ 95890 h 2620429"/>
              <a:gd name="connsiteX1" fmla="*/ 1143000 w 6172200"/>
              <a:gd name="connsiteY1" fmla="*/ 155525 h 2620429"/>
              <a:gd name="connsiteX2" fmla="*/ 2872409 w 6172200"/>
              <a:gd name="connsiteY2" fmla="*/ 1288586 h 2620429"/>
              <a:gd name="connsiteX3" fmla="*/ 4721087 w 6172200"/>
              <a:gd name="connsiteY3" fmla="*/ 2362012 h 2620429"/>
              <a:gd name="connsiteX4" fmla="*/ 6172200 w 6172200"/>
              <a:gd name="connsiteY4" fmla="*/ 2620429 h 26204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72200" h="2620429">
                <a:moveTo>
                  <a:pt x="0" y="95890"/>
                </a:moveTo>
                <a:cubicBezTo>
                  <a:pt x="262559" y="-38289"/>
                  <a:pt x="664265" y="-43258"/>
                  <a:pt x="1143000" y="155525"/>
                </a:cubicBezTo>
                <a:cubicBezTo>
                  <a:pt x="1621735" y="354308"/>
                  <a:pt x="2276061" y="920838"/>
                  <a:pt x="2872409" y="1288586"/>
                </a:cubicBezTo>
                <a:cubicBezTo>
                  <a:pt x="3468757" y="1656334"/>
                  <a:pt x="4171122" y="2140038"/>
                  <a:pt x="4721087" y="2362012"/>
                </a:cubicBezTo>
                <a:cubicBezTo>
                  <a:pt x="5271052" y="2583986"/>
                  <a:pt x="5923722" y="2593925"/>
                  <a:pt x="6172200" y="2620429"/>
                </a:cubicBezTo>
              </a:path>
            </a:pathLst>
          </a:custGeom>
          <a:noFill/>
          <a:ln w="38100" algn="ctr">
            <a:solidFill>
              <a:srgbClr val="C00000"/>
            </a:solidFill>
            <a:miter lim="800000"/>
            <a:headEnd/>
            <a:tailEnd/>
          </a:ln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Freeform 15"/>
          <p:cNvSpPr/>
          <p:nvPr/>
        </p:nvSpPr>
        <p:spPr bwMode="gray">
          <a:xfrm>
            <a:off x="1295400" y="2727660"/>
            <a:ext cx="6112565" cy="1756891"/>
          </a:xfrm>
          <a:custGeom>
            <a:avLst/>
            <a:gdLst>
              <a:gd name="connsiteX0" fmla="*/ 0 w 6112565"/>
              <a:gd name="connsiteY0" fmla="*/ 1764819 h 1789114"/>
              <a:gd name="connsiteX1" fmla="*/ 834887 w 6112565"/>
              <a:gd name="connsiteY1" fmla="*/ 1546158 h 1789114"/>
              <a:gd name="connsiteX2" fmla="*/ 2941982 w 6112565"/>
              <a:gd name="connsiteY2" fmla="*/ 15532 h 1789114"/>
              <a:gd name="connsiteX3" fmla="*/ 4363278 w 6112565"/>
              <a:gd name="connsiteY3" fmla="*/ 780845 h 1789114"/>
              <a:gd name="connsiteX4" fmla="*/ 6112565 w 6112565"/>
              <a:gd name="connsiteY4" fmla="*/ 1208227 h 1789114"/>
              <a:gd name="connsiteX0" fmla="*/ 0 w 6112565"/>
              <a:gd name="connsiteY0" fmla="*/ 1769668 h 1793963"/>
              <a:gd name="connsiteX1" fmla="*/ 834887 w 6112565"/>
              <a:gd name="connsiteY1" fmla="*/ 1551007 h 1793963"/>
              <a:gd name="connsiteX2" fmla="*/ 2941982 w 6112565"/>
              <a:gd name="connsiteY2" fmla="*/ 20381 h 1793963"/>
              <a:gd name="connsiteX3" fmla="*/ 4462669 w 6112565"/>
              <a:gd name="connsiteY3" fmla="*/ 706181 h 1793963"/>
              <a:gd name="connsiteX4" fmla="*/ 6112565 w 6112565"/>
              <a:gd name="connsiteY4" fmla="*/ 1213076 h 1793963"/>
              <a:gd name="connsiteX0" fmla="*/ 0 w 6112565"/>
              <a:gd name="connsiteY0" fmla="*/ 1760498 h 1784793"/>
              <a:gd name="connsiteX1" fmla="*/ 834887 w 6112565"/>
              <a:gd name="connsiteY1" fmla="*/ 1541837 h 1784793"/>
              <a:gd name="connsiteX2" fmla="*/ 2941982 w 6112565"/>
              <a:gd name="connsiteY2" fmla="*/ 11211 h 1784793"/>
              <a:gd name="connsiteX3" fmla="*/ 4899991 w 6112565"/>
              <a:gd name="connsiteY3" fmla="*/ 865976 h 1784793"/>
              <a:gd name="connsiteX4" fmla="*/ 6112565 w 6112565"/>
              <a:gd name="connsiteY4" fmla="*/ 1203906 h 1784793"/>
              <a:gd name="connsiteX0" fmla="*/ 0 w 6112565"/>
              <a:gd name="connsiteY0" fmla="*/ 1753370 h 1756891"/>
              <a:gd name="connsiteX1" fmla="*/ 1162878 w 6112565"/>
              <a:gd name="connsiteY1" fmla="*/ 1246475 h 1756891"/>
              <a:gd name="connsiteX2" fmla="*/ 2941982 w 6112565"/>
              <a:gd name="connsiteY2" fmla="*/ 4083 h 1756891"/>
              <a:gd name="connsiteX3" fmla="*/ 4899991 w 6112565"/>
              <a:gd name="connsiteY3" fmla="*/ 858848 h 1756891"/>
              <a:gd name="connsiteX4" fmla="*/ 6112565 w 6112565"/>
              <a:gd name="connsiteY4" fmla="*/ 1196778 h 17568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12565" h="1756891">
                <a:moveTo>
                  <a:pt x="0" y="1753370"/>
                </a:moveTo>
                <a:cubicBezTo>
                  <a:pt x="172278" y="1789813"/>
                  <a:pt x="672548" y="1538023"/>
                  <a:pt x="1162878" y="1246475"/>
                </a:cubicBezTo>
                <a:cubicBezTo>
                  <a:pt x="1653208" y="954927"/>
                  <a:pt x="2319130" y="68687"/>
                  <a:pt x="2941982" y="4083"/>
                </a:cubicBezTo>
                <a:cubicBezTo>
                  <a:pt x="3564834" y="-60521"/>
                  <a:pt x="4371561" y="660065"/>
                  <a:pt x="4899991" y="858848"/>
                </a:cubicBezTo>
                <a:cubicBezTo>
                  <a:pt x="5428422" y="1057630"/>
                  <a:pt x="5502137" y="1082478"/>
                  <a:pt x="6112565" y="1196778"/>
                </a:cubicBezTo>
              </a:path>
            </a:pathLst>
          </a:custGeom>
          <a:noFill/>
          <a:ln w="38100" algn="ctr">
            <a:solidFill>
              <a:srgbClr val="3165BB"/>
            </a:solidFill>
            <a:miter lim="800000"/>
            <a:headEnd/>
            <a:tailEnd/>
          </a:ln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Freeform 16"/>
          <p:cNvSpPr/>
          <p:nvPr/>
        </p:nvSpPr>
        <p:spPr bwMode="gray">
          <a:xfrm>
            <a:off x="1311965" y="2471116"/>
            <a:ext cx="5307496" cy="2667113"/>
          </a:xfrm>
          <a:custGeom>
            <a:avLst/>
            <a:gdLst>
              <a:gd name="connsiteX0" fmla="*/ 0 w 5307496"/>
              <a:gd name="connsiteY0" fmla="*/ 2653748 h 2667113"/>
              <a:gd name="connsiteX1" fmla="*/ 1391478 w 5307496"/>
              <a:gd name="connsiteY1" fmla="*/ 2494722 h 2667113"/>
              <a:gd name="connsiteX2" fmla="*/ 3120887 w 5307496"/>
              <a:gd name="connsiteY2" fmla="*/ 1441174 h 2667113"/>
              <a:gd name="connsiteX3" fmla="*/ 5307496 w 5307496"/>
              <a:gd name="connsiteY3" fmla="*/ 0 h 26671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07496" h="2667113">
                <a:moveTo>
                  <a:pt x="0" y="2653748"/>
                </a:moveTo>
                <a:cubicBezTo>
                  <a:pt x="435665" y="2675283"/>
                  <a:pt x="871330" y="2696818"/>
                  <a:pt x="1391478" y="2494722"/>
                </a:cubicBezTo>
                <a:cubicBezTo>
                  <a:pt x="1911626" y="2292626"/>
                  <a:pt x="2468217" y="1856961"/>
                  <a:pt x="3120887" y="1441174"/>
                </a:cubicBezTo>
                <a:cubicBezTo>
                  <a:pt x="3773557" y="1025387"/>
                  <a:pt x="4967909" y="253448"/>
                  <a:pt x="5307496" y="0"/>
                </a:cubicBezTo>
              </a:path>
            </a:pathLst>
          </a:custGeom>
          <a:noFill/>
          <a:ln w="19050" algn="ctr">
            <a:noFill/>
            <a:miter lim="800000"/>
            <a:headEnd/>
            <a:tailEnd/>
          </a:ln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Freeform 19"/>
          <p:cNvSpPr/>
          <p:nvPr/>
        </p:nvSpPr>
        <p:spPr bwMode="gray">
          <a:xfrm>
            <a:off x="1295400" y="2143125"/>
            <a:ext cx="6142382" cy="2819400"/>
          </a:xfrm>
          <a:custGeom>
            <a:avLst/>
            <a:gdLst>
              <a:gd name="connsiteX0" fmla="*/ 0 w 6102626"/>
              <a:gd name="connsiteY0" fmla="*/ 2655022 h 2655022"/>
              <a:gd name="connsiteX1" fmla="*/ 1431235 w 6102626"/>
              <a:gd name="connsiteY1" fmla="*/ 2456240 h 2655022"/>
              <a:gd name="connsiteX2" fmla="*/ 2872408 w 6102626"/>
              <a:gd name="connsiteY2" fmla="*/ 1651170 h 2655022"/>
              <a:gd name="connsiteX3" fmla="*/ 4164495 w 6102626"/>
              <a:gd name="connsiteY3" fmla="*/ 518109 h 2655022"/>
              <a:gd name="connsiteX4" fmla="*/ 5426765 w 6102626"/>
              <a:gd name="connsiteY4" fmla="*/ 80788 h 2655022"/>
              <a:gd name="connsiteX5" fmla="*/ 6102626 w 6102626"/>
              <a:gd name="connsiteY5" fmla="*/ 1275 h 2655022"/>
              <a:gd name="connsiteX0" fmla="*/ 0 w 6102626"/>
              <a:gd name="connsiteY0" fmla="*/ 2654391 h 2654391"/>
              <a:gd name="connsiteX1" fmla="*/ 1431235 w 6102626"/>
              <a:gd name="connsiteY1" fmla="*/ 2455609 h 2654391"/>
              <a:gd name="connsiteX2" fmla="*/ 2872408 w 6102626"/>
              <a:gd name="connsiteY2" fmla="*/ 1650539 h 2654391"/>
              <a:gd name="connsiteX3" fmla="*/ 4164495 w 6102626"/>
              <a:gd name="connsiteY3" fmla="*/ 517478 h 2654391"/>
              <a:gd name="connsiteX4" fmla="*/ 5227982 w 6102626"/>
              <a:gd name="connsiteY4" fmla="*/ 90096 h 2654391"/>
              <a:gd name="connsiteX5" fmla="*/ 6102626 w 6102626"/>
              <a:gd name="connsiteY5" fmla="*/ 644 h 26543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102626" h="2654391">
                <a:moveTo>
                  <a:pt x="0" y="2654391"/>
                </a:moveTo>
                <a:cubicBezTo>
                  <a:pt x="476250" y="2638654"/>
                  <a:pt x="952500" y="2622918"/>
                  <a:pt x="1431235" y="2455609"/>
                </a:cubicBezTo>
                <a:cubicBezTo>
                  <a:pt x="1909970" y="2288300"/>
                  <a:pt x="2416865" y="1973561"/>
                  <a:pt x="2872408" y="1650539"/>
                </a:cubicBezTo>
                <a:cubicBezTo>
                  <a:pt x="3327951" y="1327517"/>
                  <a:pt x="3771899" y="777552"/>
                  <a:pt x="4164495" y="517478"/>
                </a:cubicBezTo>
                <a:cubicBezTo>
                  <a:pt x="4557091" y="257404"/>
                  <a:pt x="4904960" y="176235"/>
                  <a:pt x="5227982" y="90096"/>
                </a:cubicBezTo>
                <a:cubicBezTo>
                  <a:pt x="5551004" y="3957"/>
                  <a:pt x="5926206" y="-2669"/>
                  <a:pt x="6102626" y="644"/>
                </a:cubicBezTo>
              </a:path>
            </a:pathLst>
          </a:custGeom>
          <a:noFill/>
          <a:ln w="38100" algn="ctr">
            <a:solidFill>
              <a:srgbClr val="177D36"/>
            </a:solidFill>
            <a:miter lim="800000"/>
            <a:headEnd/>
            <a:tailEnd/>
          </a:ln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itle 2">
            <a:extLst>
              <a:ext uri="{FF2B5EF4-FFF2-40B4-BE49-F238E27FC236}">
                <a16:creationId xmlns:a16="http://schemas.microsoft.com/office/drawing/2014/main" id="{479D9F2A-3E75-4FBC-9F96-745D4FBABA53}"/>
              </a:ext>
            </a:extLst>
          </p:cNvPr>
          <p:cNvSpPr txBox="1">
            <a:spLocks/>
          </p:cNvSpPr>
          <p:nvPr/>
        </p:nvSpPr>
        <p:spPr bwMode="gray">
          <a:xfrm>
            <a:off x="304800" y="295275"/>
            <a:ext cx="8108950" cy="4699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b="1" dirty="0">
                <a:solidFill>
                  <a:srgbClr val="3165BB"/>
                </a:solidFill>
                <a:latin typeface="GillSans Light"/>
              </a:rPr>
              <a:t>Three Horizons</a:t>
            </a:r>
          </a:p>
        </p:txBody>
      </p:sp>
    </p:spTree>
    <p:extLst>
      <p:ext uri="{BB962C8B-B14F-4D97-AF65-F5344CB8AC3E}">
        <p14:creationId xmlns:p14="http://schemas.microsoft.com/office/powerpoint/2010/main" val="119006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4294967295"/>
          </p:nvPr>
        </p:nvSpPr>
        <p:spPr>
          <a:xfrm>
            <a:off x="304800" y="766762"/>
            <a:ext cx="8108950" cy="757238"/>
          </a:xfrm>
        </p:spPr>
        <p:txBody>
          <a:bodyPr/>
          <a:lstStyle/>
          <a:p>
            <a:r>
              <a:rPr lang="en-US" sz="2400" dirty="0">
                <a:solidFill>
                  <a:schemeClr val="tx1"/>
                </a:solidFill>
              </a:rPr>
              <a:t>The managerial perspective, keeping things going</a:t>
            </a:r>
            <a:br>
              <a:rPr lang="en-US" sz="2400" dirty="0">
                <a:solidFill>
                  <a:schemeClr val="tx1"/>
                </a:solidFill>
              </a:rPr>
            </a:br>
            <a:endParaRPr lang="en-US" sz="2400" dirty="0">
              <a:solidFill>
                <a:schemeClr val="tx1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idx="4294967295"/>
          </p:nvPr>
        </p:nvSpPr>
        <p:spPr>
          <a:xfrm>
            <a:off x="304800" y="295275"/>
            <a:ext cx="8108950" cy="469900"/>
          </a:xfrm>
        </p:spPr>
        <p:txBody>
          <a:bodyPr/>
          <a:lstStyle/>
          <a:p>
            <a:r>
              <a:rPr lang="en-US" sz="3200" b="1" dirty="0">
                <a:solidFill>
                  <a:srgbClr val="3165BB"/>
                </a:solidFill>
                <a:latin typeface="GillSans Light"/>
              </a:rPr>
              <a:t>First Horizon: Sustaining Innovatio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4294967295"/>
          </p:nvPr>
        </p:nvSpPr>
        <p:spPr>
          <a:xfrm>
            <a:off x="5181600" y="2286000"/>
            <a:ext cx="3505200" cy="923925"/>
          </a:xfrm>
        </p:spPr>
        <p:txBody>
          <a:bodyPr wrap="square">
            <a:spAutoFit/>
          </a:bodyPr>
          <a:lstStyle/>
          <a:p>
            <a:pPr algn="ctr">
              <a:buNone/>
            </a:pPr>
            <a:r>
              <a:rPr lang="en-US" sz="2000" b="1" i="1" dirty="0">
                <a:solidFill>
                  <a:schemeClr val="tx1"/>
                </a:solidFill>
              </a:rPr>
              <a:t>Today’s Dominant Pattern</a:t>
            </a:r>
            <a:r>
              <a:rPr lang="en-US" sz="2000" i="1" dirty="0">
                <a:solidFill>
                  <a:schemeClr val="tx1"/>
                </a:solidFill>
              </a:rPr>
              <a:t>: a system losing strategic fit and therefore dominance over time</a:t>
            </a:r>
          </a:p>
        </p:txBody>
      </p:sp>
      <p:grpSp>
        <p:nvGrpSpPr>
          <p:cNvPr id="23" name="Group 22"/>
          <p:cNvGrpSpPr/>
          <p:nvPr/>
        </p:nvGrpSpPr>
        <p:grpSpPr>
          <a:xfrm>
            <a:off x="1280160" y="2143125"/>
            <a:ext cx="6583680" cy="3352800"/>
            <a:chOff x="685800" y="2286000"/>
            <a:chExt cx="6583680" cy="3352800"/>
          </a:xfrm>
        </p:grpSpPr>
        <p:cxnSp>
          <p:nvCxnSpPr>
            <p:cNvPr id="24" name="Straight Arrow Connector 23"/>
            <p:cNvCxnSpPr/>
            <p:nvPr/>
          </p:nvCxnSpPr>
          <p:spPr>
            <a:xfrm>
              <a:off x="685800" y="2286000"/>
              <a:ext cx="0" cy="3352800"/>
            </a:xfrm>
            <a:prstGeom prst="straightConnector1">
              <a:avLst/>
            </a:prstGeom>
            <a:ln>
              <a:solidFill>
                <a:schemeClr val="bg2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Arrow Connector 24"/>
            <p:cNvCxnSpPr/>
            <p:nvPr/>
          </p:nvCxnSpPr>
          <p:spPr>
            <a:xfrm flipH="1" flipV="1">
              <a:off x="685800" y="5638800"/>
              <a:ext cx="6583680" cy="0"/>
            </a:xfrm>
            <a:prstGeom prst="straightConnector1">
              <a:avLst/>
            </a:prstGeom>
            <a:ln>
              <a:solidFill>
                <a:schemeClr val="bg2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6" name="Text Placeholder 3"/>
          <p:cNvSpPr txBox="1">
            <a:spLocks/>
          </p:cNvSpPr>
          <p:nvPr/>
        </p:nvSpPr>
        <p:spPr bwMode="gray">
          <a:xfrm>
            <a:off x="646008" y="2128687"/>
            <a:ext cx="440826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buSzPct val="25000"/>
              <a:buFontTx/>
              <a:buNone/>
              <a:defRPr sz="18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03200" indent="-203200" algn="l" defTabSz="914400" rtl="0" eaLnBrk="1" latinLnBrk="0" hangingPunct="1">
              <a:spcBef>
                <a:spcPts val="600"/>
              </a:spcBef>
              <a:buClrTx/>
              <a:buSzPct val="100000"/>
              <a:buFont typeface="Arial"/>
              <a:buChar char="•"/>
              <a:defRPr lang="en-US" sz="18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431800" indent="-203200" algn="l" defTabSz="914400" rtl="0" eaLnBrk="1" latinLnBrk="0" hangingPunct="1">
              <a:spcBef>
                <a:spcPts val="600"/>
              </a:spcBef>
              <a:buClrTx/>
              <a:buSzPct val="100000"/>
              <a:buFont typeface="Arial"/>
              <a:buChar char="−"/>
              <a:defRPr lang="en-US" sz="18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660400" indent="-203200" algn="l" defTabSz="914400" rtl="0" eaLnBrk="1" latinLnBrk="0" hangingPunct="1">
              <a:spcBef>
                <a:spcPts val="600"/>
              </a:spcBef>
              <a:buClrTx/>
              <a:buSzPct val="100000"/>
              <a:buFont typeface="Arial"/>
              <a:buChar char="◦"/>
              <a:defRPr lang="en-US" sz="16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89000" indent="-203200" algn="l" defTabSz="798513" rtl="0" eaLnBrk="1" latinLnBrk="0" hangingPunct="1">
              <a:spcBef>
                <a:spcPts val="600"/>
              </a:spcBef>
              <a:buClrTx/>
              <a:buSzPct val="100000"/>
              <a:buFont typeface="Arial"/>
              <a:buChar char="−"/>
              <a:tabLst/>
              <a:defRPr lang="en-US" sz="16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1" dirty="0"/>
              <a:t>Pattern</a:t>
            </a:r>
          </a:p>
        </p:txBody>
      </p:sp>
      <p:sp>
        <p:nvSpPr>
          <p:cNvPr id="27" name="Text Placeholder 3"/>
          <p:cNvSpPr txBox="1">
            <a:spLocks/>
          </p:cNvSpPr>
          <p:nvPr/>
        </p:nvSpPr>
        <p:spPr bwMode="gray">
          <a:xfrm>
            <a:off x="7442432" y="5646978"/>
            <a:ext cx="298160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buSzPct val="25000"/>
              <a:buFont typeface="Arial" panose="020B0604020202020204" pitchFamily="34" charset="0"/>
              <a:buChar char="‏"/>
              <a:defRPr sz="18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03200" indent="-203200" algn="l" defTabSz="914400" rtl="0" eaLnBrk="1" latinLnBrk="0" hangingPunct="1">
              <a:spcBef>
                <a:spcPts val="600"/>
              </a:spcBef>
              <a:buClrTx/>
              <a:buSzPct val="100000"/>
              <a:buFont typeface="Arial"/>
              <a:buChar char="•"/>
              <a:defRPr lang="en-US" sz="18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431800" indent="-203200" algn="l" defTabSz="914400" rtl="0" eaLnBrk="1" latinLnBrk="0" hangingPunct="1">
              <a:spcBef>
                <a:spcPts val="600"/>
              </a:spcBef>
              <a:buClrTx/>
              <a:buSzPct val="100000"/>
              <a:buFont typeface="Arial"/>
              <a:buChar char="−"/>
              <a:defRPr lang="en-US" sz="18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660400" indent="-203200" algn="l" defTabSz="914400" rtl="0" eaLnBrk="1" latinLnBrk="0" hangingPunct="1">
              <a:spcBef>
                <a:spcPts val="600"/>
              </a:spcBef>
              <a:buClrTx/>
              <a:buSzPct val="100000"/>
              <a:buFont typeface="Arial"/>
              <a:buChar char="◦"/>
              <a:defRPr lang="en-US" sz="16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89000" indent="-203200" algn="l" defTabSz="798513" rtl="0" eaLnBrk="1" latinLnBrk="0" hangingPunct="1">
              <a:spcBef>
                <a:spcPts val="600"/>
              </a:spcBef>
              <a:buClrTx/>
              <a:buSzPct val="100000"/>
              <a:buFont typeface="Arial"/>
              <a:buChar char="−"/>
              <a:tabLst/>
              <a:defRPr lang="en-US" sz="16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Font typeface="Arial" panose="020B0604020202020204" pitchFamily="34" charset="0"/>
              <a:buNone/>
            </a:pPr>
            <a:r>
              <a:rPr lang="en-US" sz="1000" b="1" dirty="0"/>
              <a:t>Time</a:t>
            </a:r>
          </a:p>
        </p:txBody>
      </p:sp>
      <p:sp>
        <p:nvSpPr>
          <p:cNvPr id="28" name="Freeform 27"/>
          <p:cNvSpPr/>
          <p:nvPr/>
        </p:nvSpPr>
        <p:spPr bwMode="gray">
          <a:xfrm>
            <a:off x="1295400" y="2504435"/>
            <a:ext cx="6172200" cy="2620429"/>
          </a:xfrm>
          <a:custGeom>
            <a:avLst/>
            <a:gdLst>
              <a:gd name="connsiteX0" fmla="*/ 0 w 6172200"/>
              <a:gd name="connsiteY0" fmla="*/ 170356 h 2694895"/>
              <a:gd name="connsiteX1" fmla="*/ 1003853 w 6172200"/>
              <a:gd name="connsiteY1" fmla="*/ 100782 h 2694895"/>
              <a:gd name="connsiteX2" fmla="*/ 2872409 w 6172200"/>
              <a:gd name="connsiteY2" fmla="*/ 1363052 h 2694895"/>
              <a:gd name="connsiteX3" fmla="*/ 4721087 w 6172200"/>
              <a:gd name="connsiteY3" fmla="*/ 2436478 h 2694895"/>
              <a:gd name="connsiteX4" fmla="*/ 6172200 w 6172200"/>
              <a:gd name="connsiteY4" fmla="*/ 2694895 h 2694895"/>
              <a:gd name="connsiteX0" fmla="*/ 0 w 6172200"/>
              <a:gd name="connsiteY0" fmla="*/ 95890 h 2620429"/>
              <a:gd name="connsiteX1" fmla="*/ 1143000 w 6172200"/>
              <a:gd name="connsiteY1" fmla="*/ 155525 h 2620429"/>
              <a:gd name="connsiteX2" fmla="*/ 2872409 w 6172200"/>
              <a:gd name="connsiteY2" fmla="*/ 1288586 h 2620429"/>
              <a:gd name="connsiteX3" fmla="*/ 4721087 w 6172200"/>
              <a:gd name="connsiteY3" fmla="*/ 2362012 h 2620429"/>
              <a:gd name="connsiteX4" fmla="*/ 6172200 w 6172200"/>
              <a:gd name="connsiteY4" fmla="*/ 2620429 h 26204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72200" h="2620429">
                <a:moveTo>
                  <a:pt x="0" y="95890"/>
                </a:moveTo>
                <a:cubicBezTo>
                  <a:pt x="262559" y="-38289"/>
                  <a:pt x="664265" y="-43258"/>
                  <a:pt x="1143000" y="155525"/>
                </a:cubicBezTo>
                <a:cubicBezTo>
                  <a:pt x="1621735" y="354308"/>
                  <a:pt x="2276061" y="920838"/>
                  <a:pt x="2872409" y="1288586"/>
                </a:cubicBezTo>
                <a:cubicBezTo>
                  <a:pt x="3468757" y="1656334"/>
                  <a:pt x="4171122" y="2140038"/>
                  <a:pt x="4721087" y="2362012"/>
                </a:cubicBezTo>
                <a:cubicBezTo>
                  <a:pt x="5271052" y="2583986"/>
                  <a:pt x="5923722" y="2593925"/>
                  <a:pt x="6172200" y="2620429"/>
                </a:cubicBezTo>
              </a:path>
            </a:pathLst>
          </a:custGeom>
          <a:noFill/>
          <a:ln w="38100" algn="ctr">
            <a:solidFill>
              <a:srgbClr val="C00000"/>
            </a:solidFill>
            <a:miter lim="800000"/>
            <a:headEnd/>
            <a:tailEnd/>
          </a:ln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extBox 28"/>
          <p:cNvSpPr txBox="1"/>
          <p:nvPr/>
        </p:nvSpPr>
        <p:spPr>
          <a:xfrm>
            <a:off x="1345095" y="2694417"/>
            <a:ext cx="326682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1200"/>
              </a:spcBef>
              <a:buSzPct val="25000"/>
            </a:pPr>
            <a:r>
              <a:rPr lang="en-US" sz="1400" b="1" dirty="0">
                <a:solidFill>
                  <a:srgbClr val="C00000"/>
                </a:solidFill>
              </a:rPr>
              <a:t>H1</a:t>
            </a:r>
          </a:p>
        </p:txBody>
      </p:sp>
    </p:spTree>
    <p:extLst>
      <p:ext uri="{BB962C8B-B14F-4D97-AF65-F5344CB8AC3E}">
        <p14:creationId xmlns:p14="http://schemas.microsoft.com/office/powerpoint/2010/main" val="1223830330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4294967295"/>
          </p:nvPr>
        </p:nvSpPr>
        <p:spPr>
          <a:xfrm>
            <a:off x="304801" y="782638"/>
            <a:ext cx="8839200" cy="757237"/>
          </a:xfrm>
        </p:spPr>
        <p:txBody>
          <a:bodyPr/>
          <a:lstStyle/>
          <a:p>
            <a:r>
              <a:rPr lang="en-US" sz="2400" dirty="0">
                <a:solidFill>
                  <a:schemeClr val="tx1"/>
                </a:solidFill>
              </a:rPr>
              <a:t>The visionary perspective, aspiring to a better way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idx="4294967295"/>
          </p:nvPr>
        </p:nvSpPr>
        <p:spPr>
          <a:xfrm>
            <a:off x="304800" y="295275"/>
            <a:ext cx="8108950" cy="619125"/>
          </a:xfrm>
        </p:spPr>
        <p:txBody>
          <a:bodyPr/>
          <a:lstStyle/>
          <a:p>
            <a:r>
              <a:rPr lang="en-US" sz="3200" b="1" dirty="0">
                <a:solidFill>
                  <a:srgbClr val="3165BB"/>
                </a:solidFill>
                <a:latin typeface="GillSans Light"/>
              </a:rPr>
              <a:t>Third Horizon: Transformative Innovation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4294967295"/>
          </p:nvPr>
        </p:nvSpPr>
        <p:spPr>
          <a:xfrm>
            <a:off x="685800" y="2128838"/>
            <a:ext cx="441325" cy="153987"/>
          </a:xfrm>
        </p:spPr>
        <p:txBody>
          <a:bodyPr wrap="none">
            <a:spAutoFit/>
          </a:bodyPr>
          <a:lstStyle/>
          <a:p>
            <a:pPr algn="ctr">
              <a:buNone/>
            </a:pPr>
            <a:r>
              <a:rPr lang="en-US" sz="1000" b="1" dirty="0"/>
              <a:t>Pattern</a:t>
            </a:r>
          </a:p>
        </p:txBody>
      </p:sp>
      <p:sp>
        <p:nvSpPr>
          <p:cNvPr id="6" name="Text Placeholder 3"/>
          <p:cNvSpPr txBox="1">
            <a:spLocks/>
          </p:cNvSpPr>
          <p:nvPr/>
        </p:nvSpPr>
        <p:spPr bwMode="gray">
          <a:xfrm>
            <a:off x="1219200" y="1905000"/>
            <a:ext cx="4191000" cy="153888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buSzPct val="25000"/>
              <a:buFont typeface="Arial" panose="020B0604020202020204" pitchFamily="34" charset="0"/>
              <a:buChar char="‏"/>
              <a:defRPr sz="18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03200" indent="-203200" algn="l" defTabSz="914400" rtl="0" eaLnBrk="1" latinLnBrk="0" hangingPunct="1">
              <a:spcBef>
                <a:spcPts val="600"/>
              </a:spcBef>
              <a:buClrTx/>
              <a:buSzPct val="100000"/>
              <a:buFont typeface="Arial"/>
              <a:buChar char="•"/>
              <a:defRPr lang="en-US" sz="18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431800" indent="-203200" algn="l" defTabSz="914400" rtl="0" eaLnBrk="1" latinLnBrk="0" hangingPunct="1">
              <a:spcBef>
                <a:spcPts val="600"/>
              </a:spcBef>
              <a:buClrTx/>
              <a:buSzPct val="100000"/>
              <a:buFont typeface="Arial"/>
              <a:buChar char="−"/>
              <a:defRPr lang="en-US" sz="18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660400" indent="-203200" algn="l" defTabSz="914400" rtl="0" eaLnBrk="1" latinLnBrk="0" hangingPunct="1">
              <a:spcBef>
                <a:spcPts val="600"/>
              </a:spcBef>
              <a:buClrTx/>
              <a:buSzPct val="100000"/>
              <a:buFont typeface="Arial"/>
              <a:buChar char="◦"/>
              <a:defRPr lang="en-US" sz="16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89000" indent="-203200" algn="l" defTabSz="798513" rtl="0" eaLnBrk="1" latinLnBrk="0" hangingPunct="1">
              <a:spcBef>
                <a:spcPts val="600"/>
              </a:spcBef>
              <a:buClrTx/>
              <a:buSzPct val="100000"/>
              <a:buFont typeface="Arial"/>
              <a:buChar char="−"/>
              <a:tabLst/>
              <a:defRPr lang="en-US" sz="16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2000" b="1" i="1" dirty="0">
                <a:solidFill>
                  <a:schemeClr val="tx1"/>
                </a:solidFill>
              </a:rPr>
              <a:t>The Future Pattern</a:t>
            </a:r>
            <a:r>
              <a:rPr lang="en-US" sz="2000" i="1" dirty="0">
                <a:solidFill>
                  <a:schemeClr val="tx1"/>
                </a:solidFill>
              </a:rPr>
              <a:t>: a system in tune with deeper trends that eventually emerges as the new dominant system—perhaps a generation from now</a:t>
            </a:r>
          </a:p>
        </p:txBody>
      </p:sp>
      <p:grpSp>
        <p:nvGrpSpPr>
          <p:cNvPr id="23" name="Group 22"/>
          <p:cNvGrpSpPr/>
          <p:nvPr/>
        </p:nvGrpSpPr>
        <p:grpSpPr>
          <a:xfrm>
            <a:off x="1280160" y="2143125"/>
            <a:ext cx="6583680" cy="3352800"/>
            <a:chOff x="685800" y="2286000"/>
            <a:chExt cx="6583680" cy="3352800"/>
          </a:xfrm>
        </p:grpSpPr>
        <p:cxnSp>
          <p:nvCxnSpPr>
            <p:cNvPr id="24" name="Straight Arrow Connector 23"/>
            <p:cNvCxnSpPr/>
            <p:nvPr/>
          </p:nvCxnSpPr>
          <p:spPr>
            <a:xfrm>
              <a:off x="685800" y="2286000"/>
              <a:ext cx="0" cy="3352800"/>
            </a:xfrm>
            <a:prstGeom prst="straightConnector1">
              <a:avLst/>
            </a:prstGeom>
            <a:ln>
              <a:solidFill>
                <a:schemeClr val="bg2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Arrow Connector 24"/>
            <p:cNvCxnSpPr/>
            <p:nvPr/>
          </p:nvCxnSpPr>
          <p:spPr>
            <a:xfrm flipH="1" flipV="1">
              <a:off x="685800" y="5638800"/>
              <a:ext cx="6583680" cy="0"/>
            </a:xfrm>
            <a:prstGeom prst="straightConnector1">
              <a:avLst/>
            </a:prstGeom>
            <a:ln>
              <a:solidFill>
                <a:schemeClr val="bg2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ext Placeholder 3"/>
          <p:cNvSpPr txBox="1">
            <a:spLocks/>
          </p:cNvSpPr>
          <p:nvPr/>
        </p:nvSpPr>
        <p:spPr bwMode="gray">
          <a:xfrm>
            <a:off x="7442432" y="5646978"/>
            <a:ext cx="298160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buSzPct val="25000"/>
              <a:buFont typeface="Arial" panose="020B0604020202020204" pitchFamily="34" charset="0"/>
              <a:buChar char="‏"/>
              <a:defRPr sz="18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03200" indent="-203200" algn="l" defTabSz="914400" rtl="0" eaLnBrk="1" latinLnBrk="0" hangingPunct="1">
              <a:spcBef>
                <a:spcPts val="600"/>
              </a:spcBef>
              <a:buClrTx/>
              <a:buSzPct val="100000"/>
              <a:buFont typeface="Arial"/>
              <a:buChar char="•"/>
              <a:defRPr lang="en-US" sz="18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431800" indent="-203200" algn="l" defTabSz="914400" rtl="0" eaLnBrk="1" latinLnBrk="0" hangingPunct="1">
              <a:spcBef>
                <a:spcPts val="600"/>
              </a:spcBef>
              <a:buClrTx/>
              <a:buSzPct val="100000"/>
              <a:buFont typeface="Arial"/>
              <a:buChar char="−"/>
              <a:defRPr lang="en-US" sz="18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660400" indent="-203200" algn="l" defTabSz="914400" rtl="0" eaLnBrk="1" latinLnBrk="0" hangingPunct="1">
              <a:spcBef>
                <a:spcPts val="600"/>
              </a:spcBef>
              <a:buClrTx/>
              <a:buSzPct val="100000"/>
              <a:buFont typeface="Arial"/>
              <a:buChar char="◦"/>
              <a:defRPr lang="en-US" sz="16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89000" indent="-203200" algn="l" defTabSz="798513" rtl="0" eaLnBrk="1" latinLnBrk="0" hangingPunct="1">
              <a:spcBef>
                <a:spcPts val="600"/>
              </a:spcBef>
              <a:buClrTx/>
              <a:buSzPct val="100000"/>
              <a:buFont typeface="Arial"/>
              <a:buChar char="−"/>
              <a:tabLst/>
              <a:defRPr lang="en-US" sz="16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Font typeface="Arial" panose="020B0604020202020204" pitchFamily="34" charset="0"/>
              <a:buNone/>
            </a:pPr>
            <a:r>
              <a:rPr lang="en-US" sz="1000" b="1" dirty="0"/>
              <a:t>Time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1345095" y="5086347"/>
            <a:ext cx="326682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1200"/>
              </a:spcBef>
              <a:buSzPct val="25000"/>
            </a:pPr>
            <a:r>
              <a:rPr lang="en-US" sz="1400" b="1" dirty="0">
                <a:solidFill>
                  <a:srgbClr val="177D36"/>
                </a:solidFill>
              </a:rPr>
              <a:t>H3</a:t>
            </a:r>
          </a:p>
        </p:txBody>
      </p:sp>
      <p:sp>
        <p:nvSpPr>
          <p:cNvPr id="28" name="Freeform 27"/>
          <p:cNvSpPr/>
          <p:nvPr/>
        </p:nvSpPr>
        <p:spPr bwMode="gray">
          <a:xfrm>
            <a:off x="1288774" y="2286000"/>
            <a:ext cx="6153658" cy="2676525"/>
          </a:xfrm>
          <a:custGeom>
            <a:avLst/>
            <a:gdLst>
              <a:gd name="connsiteX0" fmla="*/ 0 w 6102626"/>
              <a:gd name="connsiteY0" fmla="*/ 2655022 h 2655022"/>
              <a:gd name="connsiteX1" fmla="*/ 1431235 w 6102626"/>
              <a:gd name="connsiteY1" fmla="*/ 2456240 h 2655022"/>
              <a:gd name="connsiteX2" fmla="*/ 2872408 w 6102626"/>
              <a:gd name="connsiteY2" fmla="*/ 1651170 h 2655022"/>
              <a:gd name="connsiteX3" fmla="*/ 4164495 w 6102626"/>
              <a:gd name="connsiteY3" fmla="*/ 518109 h 2655022"/>
              <a:gd name="connsiteX4" fmla="*/ 5426765 w 6102626"/>
              <a:gd name="connsiteY4" fmla="*/ 80788 h 2655022"/>
              <a:gd name="connsiteX5" fmla="*/ 6102626 w 6102626"/>
              <a:gd name="connsiteY5" fmla="*/ 1275 h 2655022"/>
              <a:gd name="connsiteX0" fmla="*/ 0 w 6102626"/>
              <a:gd name="connsiteY0" fmla="*/ 2654391 h 2654391"/>
              <a:gd name="connsiteX1" fmla="*/ 1431235 w 6102626"/>
              <a:gd name="connsiteY1" fmla="*/ 2455609 h 2654391"/>
              <a:gd name="connsiteX2" fmla="*/ 2872408 w 6102626"/>
              <a:gd name="connsiteY2" fmla="*/ 1650539 h 2654391"/>
              <a:gd name="connsiteX3" fmla="*/ 4164495 w 6102626"/>
              <a:gd name="connsiteY3" fmla="*/ 517478 h 2654391"/>
              <a:gd name="connsiteX4" fmla="*/ 5227982 w 6102626"/>
              <a:gd name="connsiteY4" fmla="*/ 90096 h 2654391"/>
              <a:gd name="connsiteX5" fmla="*/ 6102626 w 6102626"/>
              <a:gd name="connsiteY5" fmla="*/ 644 h 26543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102626" h="2654391">
                <a:moveTo>
                  <a:pt x="0" y="2654391"/>
                </a:moveTo>
                <a:cubicBezTo>
                  <a:pt x="476250" y="2638654"/>
                  <a:pt x="952500" y="2622918"/>
                  <a:pt x="1431235" y="2455609"/>
                </a:cubicBezTo>
                <a:cubicBezTo>
                  <a:pt x="1909970" y="2288300"/>
                  <a:pt x="2416865" y="1973561"/>
                  <a:pt x="2872408" y="1650539"/>
                </a:cubicBezTo>
                <a:cubicBezTo>
                  <a:pt x="3327951" y="1327517"/>
                  <a:pt x="3771899" y="777552"/>
                  <a:pt x="4164495" y="517478"/>
                </a:cubicBezTo>
                <a:cubicBezTo>
                  <a:pt x="4557091" y="257404"/>
                  <a:pt x="4904960" y="176235"/>
                  <a:pt x="5227982" y="90096"/>
                </a:cubicBezTo>
                <a:cubicBezTo>
                  <a:pt x="5551004" y="3957"/>
                  <a:pt x="5926206" y="-2669"/>
                  <a:pt x="6102626" y="644"/>
                </a:cubicBezTo>
              </a:path>
            </a:pathLst>
          </a:custGeom>
          <a:noFill/>
          <a:ln w="38100" algn="ctr">
            <a:solidFill>
              <a:srgbClr val="177D36"/>
            </a:solidFill>
            <a:miter lim="800000"/>
            <a:headEnd/>
            <a:tailEnd/>
          </a:ln>
        </p:spPr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5900485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4294967295"/>
          </p:nvPr>
        </p:nvSpPr>
        <p:spPr>
          <a:xfrm>
            <a:off x="304800" y="782638"/>
            <a:ext cx="8108950" cy="757237"/>
          </a:xfrm>
        </p:spPr>
        <p:txBody>
          <a:bodyPr/>
          <a:lstStyle/>
          <a:p>
            <a:r>
              <a:rPr lang="en-US" sz="2400" dirty="0">
                <a:solidFill>
                  <a:schemeClr val="tx1"/>
                </a:solidFill>
              </a:rPr>
              <a:t>The entrepreneurial perspective, eager to try new thing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idx="4294967295"/>
          </p:nvPr>
        </p:nvSpPr>
        <p:spPr>
          <a:xfrm>
            <a:off x="304800" y="295275"/>
            <a:ext cx="8108950" cy="469900"/>
          </a:xfrm>
        </p:spPr>
        <p:txBody>
          <a:bodyPr/>
          <a:lstStyle/>
          <a:p>
            <a:r>
              <a:rPr lang="en-US" sz="3200" b="1" dirty="0">
                <a:solidFill>
                  <a:srgbClr val="3165BB"/>
                </a:solidFill>
                <a:latin typeface="GillSans Light"/>
              </a:rPr>
              <a:t>Second Horizon: Disruptive Innovation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4294967295"/>
          </p:nvPr>
        </p:nvSpPr>
        <p:spPr>
          <a:xfrm>
            <a:off x="533400" y="2133600"/>
            <a:ext cx="441325" cy="153987"/>
          </a:xfrm>
        </p:spPr>
        <p:txBody>
          <a:bodyPr wrap="none">
            <a:spAutoFit/>
          </a:bodyPr>
          <a:lstStyle/>
          <a:p>
            <a:pPr algn="ctr">
              <a:buNone/>
            </a:pPr>
            <a:r>
              <a:rPr lang="en-US" sz="1000" b="1" dirty="0"/>
              <a:t>Pattern</a:t>
            </a:r>
          </a:p>
        </p:txBody>
      </p:sp>
      <p:sp>
        <p:nvSpPr>
          <p:cNvPr id="15" name="Text Placeholder 3"/>
          <p:cNvSpPr txBox="1">
            <a:spLocks/>
          </p:cNvSpPr>
          <p:nvPr/>
        </p:nvSpPr>
        <p:spPr bwMode="gray">
          <a:xfrm>
            <a:off x="2971046" y="3810000"/>
            <a:ext cx="3048753" cy="12311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buSzPct val="25000"/>
              <a:buFont typeface="Arial" panose="020B0604020202020204" pitchFamily="34" charset="0"/>
              <a:buChar char="‏"/>
              <a:defRPr sz="18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03200" indent="-203200" algn="l" defTabSz="914400" rtl="0" eaLnBrk="1" latinLnBrk="0" hangingPunct="1">
              <a:spcBef>
                <a:spcPts val="600"/>
              </a:spcBef>
              <a:buClrTx/>
              <a:buSzPct val="100000"/>
              <a:buFont typeface="Arial"/>
              <a:buChar char="•"/>
              <a:defRPr lang="en-US" sz="18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431800" indent="-203200" algn="l" defTabSz="914400" rtl="0" eaLnBrk="1" latinLnBrk="0" hangingPunct="1">
              <a:spcBef>
                <a:spcPts val="600"/>
              </a:spcBef>
              <a:buClrTx/>
              <a:buSzPct val="100000"/>
              <a:buFont typeface="Arial"/>
              <a:buChar char="−"/>
              <a:defRPr lang="en-US" sz="18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660400" indent="-203200" algn="l" defTabSz="914400" rtl="0" eaLnBrk="1" latinLnBrk="0" hangingPunct="1">
              <a:spcBef>
                <a:spcPts val="600"/>
              </a:spcBef>
              <a:buClrTx/>
              <a:buSzPct val="100000"/>
              <a:buFont typeface="Arial"/>
              <a:buChar char="◦"/>
              <a:defRPr lang="en-US" sz="16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89000" indent="-203200" algn="l" defTabSz="798513" rtl="0" eaLnBrk="1" latinLnBrk="0" hangingPunct="1">
              <a:spcBef>
                <a:spcPts val="600"/>
              </a:spcBef>
              <a:buClrTx/>
              <a:buSzPct val="100000"/>
              <a:buFont typeface="Arial"/>
              <a:buChar char="−"/>
              <a:tabLst/>
              <a:defRPr lang="en-US" sz="16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2000" b="1" i="1" dirty="0">
                <a:solidFill>
                  <a:schemeClr val="tx1"/>
                </a:solidFill>
              </a:rPr>
              <a:t>Zone of Transition</a:t>
            </a:r>
            <a:r>
              <a:rPr lang="en-US" sz="2000" i="1" dirty="0">
                <a:solidFill>
                  <a:schemeClr val="tx1"/>
                </a:solidFill>
              </a:rPr>
              <a:t>: a system seeking to exploit the opportunities emerging in a changing world</a:t>
            </a:r>
            <a:endParaRPr lang="en-US" sz="2000" dirty="0">
              <a:solidFill>
                <a:schemeClr val="tx1"/>
              </a:solidFill>
            </a:endParaRPr>
          </a:p>
        </p:txBody>
      </p:sp>
      <p:grpSp>
        <p:nvGrpSpPr>
          <p:cNvPr id="16" name="Group 15"/>
          <p:cNvGrpSpPr/>
          <p:nvPr/>
        </p:nvGrpSpPr>
        <p:grpSpPr>
          <a:xfrm>
            <a:off x="1280160" y="2143125"/>
            <a:ext cx="6583680" cy="3352800"/>
            <a:chOff x="685800" y="2286000"/>
            <a:chExt cx="6583680" cy="3352800"/>
          </a:xfrm>
        </p:grpSpPr>
        <p:cxnSp>
          <p:nvCxnSpPr>
            <p:cNvPr id="18" name="Straight Arrow Connector 17"/>
            <p:cNvCxnSpPr/>
            <p:nvPr/>
          </p:nvCxnSpPr>
          <p:spPr>
            <a:xfrm>
              <a:off x="685800" y="2286000"/>
              <a:ext cx="0" cy="3352800"/>
            </a:xfrm>
            <a:prstGeom prst="straightConnector1">
              <a:avLst/>
            </a:prstGeom>
            <a:ln>
              <a:solidFill>
                <a:schemeClr val="bg2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Arrow Connector 18"/>
            <p:cNvCxnSpPr/>
            <p:nvPr/>
          </p:nvCxnSpPr>
          <p:spPr>
            <a:xfrm flipH="1" flipV="1">
              <a:off x="685800" y="5638800"/>
              <a:ext cx="6583680" cy="0"/>
            </a:xfrm>
            <a:prstGeom prst="straightConnector1">
              <a:avLst/>
            </a:prstGeom>
            <a:ln>
              <a:solidFill>
                <a:schemeClr val="bg2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 Placeholder 3"/>
          <p:cNvSpPr txBox="1">
            <a:spLocks/>
          </p:cNvSpPr>
          <p:nvPr/>
        </p:nvSpPr>
        <p:spPr bwMode="gray">
          <a:xfrm>
            <a:off x="7442432" y="5646978"/>
            <a:ext cx="298160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buSzPct val="25000"/>
              <a:buFont typeface="Arial" panose="020B0604020202020204" pitchFamily="34" charset="0"/>
              <a:buChar char="‏"/>
              <a:defRPr sz="18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03200" indent="-203200" algn="l" defTabSz="914400" rtl="0" eaLnBrk="1" latinLnBrk="0" hangingPunct="1">
              <a:spcBef>
                <a:spcPts val="600"/>
              </a:spcBef>
              <a:buClrTx/>
              <a:buSzPct val="100000"/>
              <a:buFont typeface="Arial"/>
              <a:buChar char="•"/>
              <a:defRPr lang="en-US" sz="18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431800" indent="-203200" algn="l" defTabSz="914400" rtl="0" eaLnBrk="1" latinLnBrk="0" hangingPunct="1">
              <a:spcBef>
                <a:spcPts val="600"/>
              </a:spcBef>
              <a:buClrTx/>
              <a:buSzPct val="100000"/>
              <a:buFont typeface="Arial"/>
              <a:buChar char="−"/>
              <a:defRPr lang="en-US" sz="18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660400" indent="-203200" algn="l" defTabSz="914400" rtl="0" eaLnBrk="1" latinLnBrk="0" hangingPunct="1">
              <a:spcBef>
                <a:spcPts val="600"/>
              </a:spcBef>
              <a:buClrTx/>
              <a:buSzPct val="100000"/>
              <a:buFont typeface="Arial"/>
              <a:buChar char="◦"/>
              <a:defRPr lang="en-US" sz="16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89000" indent="-203200" algn="l" defTabSz="798513" rtl="0" eaLnBrk="1" latinLnBrk="0" hangingPunct="1">
              <a:spcBef>
                <a:spcPts val="600"/>
              </a:spcBef>
              <a:buClrTx/>
              <a:buSzPct val="100000"/>
              <a:buFont typeface="Arial"/>
              <a:buChar char="−"/>
              <a:tabLst/>
              <a:defRPr lang="en-US" sz="16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Font typeface="Arial" panose="020B0604020202020204" pitchFamily="34" charset="0"/>
              <a:buNone/>
            </a:pPr>
            <a:r>
              <a:rPr lang="en-US" sz="1000" b="1" dirty="0"/>
              <a:t>Time</a:t>
            </a:r>
          </a:p>
        </p:txBody>
      </p:sp>
      <p:sp>
        <p:nvSpPr>
          <p:cNvPr id="22" name="Freeform 21"/>
          <p:cNvSpPr/>
          <p:nvPr/>
        </p:nvSpPr>
        <p:spPr bwMode="gray">
          <a:xfrm>
            <a:off x="1295400" y="2727660"/>
            <a:ext cx="6112565" cy="1756891"/>
          </a:xfrm>
          <a:custGeom>
            <a:avLst/>
            <a:gdLst>
              <a:gd name="connsiteX0" fmla="*/ 0 w 6112565"/>
              <a:gd name="connsiteY0" fmla="*/ 1764819 h 1789114"/>
              <a:gd name="connsiteX1" fmla="*/ 834887 w 6112565"/>
              <a:gd name="connsiteY1" fmla="*/ 1546158 h 1789114"/>
              <a:gd name="connsiteX2" fmla="*/ 2941982 w 6112565"/>
              <a:gd name="connsiteY2" fmla="*/ 15532 h 1789114"/>
              <a:gd name="connsiteX3" fmla="*/ 4363278 w 6112565"/>
              <a:gd name="connsiteY3" fmla="*/ 780845 h 1789114"/>
              <a:gd name="connsiteX4" fmla="*/ 6112565 w 6112565"/>
              <a:gd name="connsiteY4" fmla="*/ 1208227 h 1789114"/>
              <a:gd name="connsiteX0" fmla="*/ 0 w 6112565"/>
              <a:gd name="connsiteY0" fmla="*/ 1769668 h 1793963"/>
              <a:gd name="connsiteX1" fmla="*/ 834887 w 6112565"/>
              <a:gd name="connsiteY1" fmla="*/ 1551007 h 1793963"/>
              <a:gd name="connsiteX2" fmla="*/ 2941982 w 6112565"/>
              <a:gd name="connsiteY2" fmla="*/ 20381 h 1793963"/>
              <a:gd name="connsiteX3" fmla="*/ 4462669 w 6112565"/>
              <a:gd name="connsiteY3" fmla="*/ 706181 h 1793963"/>
              <a:gd name="connsiteX4" fmla="*/ 6112565 w 6112565"/>
              <a:gd name="connsiteY4" fmla="*/ 1213076 h 1793963"/>
              <a:gd name="connsiteX0" fmla="*/ 0 w 6112565"/>
              <a:gd name="connsiteY0" fmla="*/ 1760498 h 1784793"/>
              <a:gd name="connsiteX1" fmla="*/ 834887 w 6112565"/>
              <a:gd name="connsiteY1" fmla="*/ 1541837 h 1784793"/>
              <a:gd name="connsiteX2" fmla="*/ 2941982 w 6112565"/>
              <a:gd name="connsiteY2" fmla="*/ 11211 h 1784793"/>
              <a:gd name="connsiteX3" fmla="*/ 4899991 w 6112565"/>
              <a:gd name="connsiteY3" fmla="*/ 865976 h 1784793"/>
              <a:gd name="connsiteX4" fmla="*/ 6112565 w 6112565"/>
              <a:gd name="connsiteY4" fmla="*/ 1203906 h 1784793"/>
              <a:gd name="connsiteX0" fmla="*/ 0 w 6112565"/>
              <a:gd name="connsiteY0" fmla="*/ 1753370 h 1756891"/>
              <a:gd name="connsiteX1" fmla="*/ 1162878 w 6112565"/>
              <a:gd name="connsiteY1" fmla="*/ 1246475 h 1756891"/>
              <a:gd name="connsiteX2" fmla="*/ 2941982 w 6112565"/>
              <a:gd name="connsiteY2" fmla="*/ 4083 h 1756891"/>
              <a:gd name="connsiteX3" fmla="*/ 4899991 w 6112565"/>
              <a:gd name="connsiteY3" fmla="*/ 858848 h 1756891"/>
              <a:gd name="connsiteX4" fmla="*/ 6112565 w 6112565"/>
              <a:gd name="connsiteY4" fmla="*/ 1196778 h 17568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12565" h="1756891">
                <a:moveTo>
                  <a:pt x="0" y="1753370"/>
                </a:moveTo>
                <a:cubicBezTo>
                  <a:pt x="172278" y="1789813"/>
                  <a:pt x="672548" y="1538023"/>
                  <a:pt x="1162878" y="1246475"/>
                </a:cubicBezTo>
                <a:cubicBezTo>
                  <a:pt x="1653208" y="954927"/>
                  <a:pt x="2319130" y="68687"/>
                  <a:pt x="2941982" y="4083"/>
                </a:cubicBezTo>
                <a:cubicBezTo>
                  <a:pt x="3564834" y="-60521"/>
                  <a:pt x="4371561" y="660065"/>
                  <a:pt x="4899991" y="858848"/>
                </a:cubicBezTo>
                <a:cubicBezTo>
                  <a:pt x="5428422" y="1057630"/>
                  <a:pt x="5502137" y="1082478"/>
                  <a:pt x="6112565" y="1196778"/>
                </a:cubicBezTo>
              </a:path>
            </a:pathLst>
          </a:custGeom>
          <a:noFill/>
          <a:ln w="38100" algn="ctr">
            <a:solidFill>
              <a:srgbClr val="3165BB"/>
            </a:solidFill>
            <a:miter lim="800000"/>
            <a:headEnd/>
            <a:tailEnd/>
          </a:ln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Box 22"/>
          <p:cNvSpPr txBox="1"/>
          <p:nvPr/>
        </p:nvSpPr>
        <p:spPr>
          <a:xfrm>
            <a:off x="1345095" y="4097228"/>
            <a:ext cx="326682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1200"/>
              </a:spcBef>
              <a:buSzPct val="25000"/>
            </a:pPr>
            <a:r>
              <a:rPr lang="en-US" sz="1400" b="1" dirty="0">
                <a:solidFill>
                  <a:srgbClr val="3165BB"/>
                </a:solidFill>
              </a:rPr>
              <a:t>H2</a:t>
            </a:r>
          </a:p>
        </p:txBody>
      </p:sp>
      <p:cxnSp>
        <p:nvCxnSpPr>
          <p:cNvPr id="6" name="Straight Arrow Connector 5"/>
          <p:cNvCxnSpPr/>
          <p:nvPr/>
        </p:nvCxnSpPr>
        <p:spPr>
          <a:xfrm>
            <a:off x="4800600" y="2451317"/>
            <a:ext cx="1295400" cy="0"/>
          </a:xfrm>
          <a:prstGeom prst="straightConnector1">
            <a:avLst/>
          </a:prstGeom>
          <a:ln w="381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/>
          <p:cNvCxnSpPr/>
          <p:nvPr/>
        </p:nvCxnSpPr>
        <p:spPr>
          <a:xfrm flipH="1">
            <a:off x="2590800" y="2451317"/>
            <a:ext cx="1295400" cy="0"/>
          </a:xfrm>
          <a:prstGeom prst="straightConnector1">
            <a:avLst/>
          </a:prstGeom>
          <a:ln w="381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 Placeholder 3"/>
          <p:cNvSpPr txBox="1">
            <a:spLocks/>
          </p:cNvSpPr>
          <p:nvPr/>
        </p:nvSpPr>
        <p:spPr bwMode="gray">
          <a:xfrm>
            <a:off x="6248400" y="2057400"/>
            <a:ext cx="513325" cy="67710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buSzPct val="25000"/>
              <a:buFont typeface="Arial" panose="020B0604020202020204" pitchFamily="34" charset="0"/>
              <a:buChar char="‏"/>
              <a:defRPr sz="18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03200" indent="-203200" algn="l" defTabSz="914400" rtl="0" eaLnBrk="1" latinLnBrk="0" hangingPunct="1">
              <a:spcBef>
                <a:spcPts val="600"/>
              </a:spcBef>
              <a:buClrTx/>
              <a:buSzPct val="100000"/>
              <a:buFont typeface="Arial"/>
              <a:buChar char="•"/>
              <a:defRPr lang="en-US" sz="18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431800" indent="-203200" algn="l" defTabSz="914400" rtl="0" eaLnBrk="1" latinLnBrk="0" hangingPunct="1">
              <a:spcBef>
                <a:spcPts val="600"/>
              </a:spcBef>
              <a:buClrTx/>
              <a:buSzPct val="100000"/>
              <a:buFont typeface="Arial"/>
              <a:buChar char="−"/>
              <a:defRPr lang="en-US" sz="18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660400" indent="-203200" algn="l" defTabSz="914400" rtl="0" eaLnBrk="1" latinLnBrk="0" hangingPunct="1">
              <a:spcBef>
                <a:spcPts val="600"/>
              </a:spcBef>
              <a:buClrTx/>
              <a:buSzPct val="100000"/>
              <a:buFont typeface="Arial"/>
              <a:buChar char="◦"/>
              <a:defRPr lang="en-US" sz="16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89000" indent="-203200" algn="l" defTabSz="798513" rtl="0" eaLnBrk="1" latinLnBrk="0" hangingPunct="1">
              <a:spcBef>
                <a:spcPts val="600"/>
              </a:spcBef>
              <a:buClrTx/>
              <a:buSzPct val="100000"/>
              <a:buFont typeface="Arial"/>
              <a:buChar char="−"/>
              <a:tabLst/>
              <a:defRPr lang="en-US" sz="16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4400" i="1" dirty="0">
                <a:solidFill>
                  <a:srgbClr val="177D36"/>
                </a:solidFill>
              </a:rPr>
              <a:t>+</a:t>
            </a:r>
            <a:endParaRPr lang="en-US" sz="4400" dirty="0">
              <a:solidFill>
                <a:srgbClr val="177D36"/>
              </a:solidFill>
            </a:endParaRPr>
          </a:p>
        </p:txBody>
      </p:sp>
      <p:sp>
        <p:nvSpPr>
          <p:cNvPr id="26" name="Text Placeholder 3"/>
          <p:cNvSpPr txBox="1">
            <a:spLocks/>
          </p:cNvSpPr>
          <p:nvPr/>
        </p:nvSpPr>
        <p:spPr bwMode="gray">
          <a:xfrm>
            <a:off x="1919818" y="2057400"/>
            <a:ext cx="513325" cy="67710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buSzPct val="25000"/>
              <a:buFont typeface="Arial" panose="020B0604020202020204" pitchFamily="34" charset="0"/>
              <a:buChar char="‏"/>
              <a:defRPr sz="18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03200" indent="-203200" algn="l" defTabSz="914400" rtl="0" eaLnBrk="1" latinLnBrk="0" hangingPunct="1">
              <a:spcBef>
                <a:spcPts val="600"/>
              </a:spcBef>
              <a:buClrTx/>
              <a:buSzPct val="100000"/>
              <a:buFont typeface="Arial"/>
              <a:buChar char="•"/>
              <a:defRPr lang="en-US" sz="18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431800" indent="-203200" algn="l" defTabSz="914400" rtl="0" eaLnBrk="1" latinLnBrk="0" hangingPunct="1">
              <a:spcBef>
                <a:spcPts val="600"/>
              </a:spcBef>
              <a:buClrTx/>
              <a:buSzPct val="100000"/>
              <a:buFont typeface="Arial"/>
              <a:buChar char="−"/>
              <a:defRPr lang="en-US" sz="18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660400" indent="-203200" algn="l" defTabSz="914400" rtl="0" eaLnBrk="1" latinLnBrk="0" hangingPunct="1">
              <a:spcBef>
                <a:spcPts val="600"/>
              </a:spcBef>
              <a:buClrTx/>
              <a:buSzPct val="100000"/>
              <a:buFont typeface="Arial"/>
              <a:buChar char="◦"/>
              <a:defRPr lang="en-US" sz="16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89000" indent="-203200" algn="l" defTabSz="798513" rtl="0" eaLnBrk="1" latinLnBrk="0" hangingPunct="1">
              <a:spcBef>
                <a:spcPts val="600"/>
              </a:spcBef>
              <a:buClrTx/>
              <a:buSzPct val="100000"/>
              <a:buFont typeface="Arial"/>
              <a:buChar char="−"/>
              <a:tabLst/>
              <a:defRPr lang="en-US" sz="16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US" sz="4400" i="1" dirty="0">
                <a:solidFill>
                  <a:srgbClr val="E31C24"/>
                </a:solidFill>
              </a:rPr>
              <a:t>–</a:t>
            </a:r>
            <a:endParaRPr lang="en-US" sz="4400" dirty="0">
              <a:solidFill>
                <a:srgbClr val="E31C24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2133600" y="2057400"/>
            <a:ext cx="244302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1200"/>
              </a:spcBef>
              <a:buSzPct val="25000"/>
            </a:pPr>
            <a:r>
              <a:rPr lang="en-GB" dirty="0">
                <a:solidFill>
                  <a:schemeClr val="tx2"/>
                </a:solidFill>
              </a:rPr>
              <a:t>sustaining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4300309" y="2057400"/>
            <a:ext cx="244302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1200"/>
              </a:spcBef>
              <a:buSzPct val="25000"/>
            </a:pPr>
            <a:r>
              <a:rPr lang="en-GB" dirty="0">
                <a:solidFill>
                  <a:schemeClr val="tx2"/>
                </a:solidFill>
              </a:rPr>
              <a:t>transformative</a:t>
            </a:r>
          </a:p>
        </p:txBody>
      </p:sp>
    </p:spTree>
    <p:extLst>
      <p:ext uri="{BB962C8B-B14F-4D97-AF65-F5344CB8AC3E}">
        <p14:creationId xmlns:p14="http://schemas.microsoft.com/office/powerpoint/2010/main" val="108902017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/>
      <p:bldP spid="26" grpId="0"/>
      <p:bldP spid="4" grpId="0"/>
      <p:bldP spid="29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67&quot;/&gt;&lt;CPresentation id=&quot;1&quot;&gt;&lt;m_precDefaultNumber/&gt;&lt;m_precDefaultPercent/&gt;&lt;m_precDefaultDate/&gt;&lt;m_precDefaultYear/&gt;&lt;m_precDefaultQuarter&gt;&lt;m_bNumberIsYear val=&quot;0&quot;/&gt;&lt;m_strFormatTime&gt;Q%5&lt;/m_strFormatTime&gt;&lt;/m_precDefaultQuarter&gt;&lt;m_precDefaultMonth/&gt;&lt;m_precDefaultWeek/&gt;&lt;m_precDefaultDay&gt;&lt;m_bNumberIsYear val=&quot;0&quot;/&gt;&lt;m_strFormatTime&gt;%#d&lt;/m_strFormatTime&gt;&lt;/m_precDefaultDay&gt;&lt;m_mruColor&gt;&lt;m_vecMRU length=&quot;0&quot;/&gt;&lt;/m_mruColor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 Brand">
  <a:themeElements>
    <a:clrScheme name="US Deloitte Color">
      <a:dk1>
        <a:sysClr val="windowText" lastClr="000000"/>
      </a:dk1>
      <a:lt1>
        <a:sysClr val="window" lastClr="FFFFFF"/>
      </a:lt1>
      <a:dk2>
        <a:srgbClr val="313131"/>
      </a:dk2>
      <a:lt2>
        <a:srgbClr val="8C8C8C"/>
      </a:lt2>
      <a:accent1>
        <a:srgbClr val="002776"/>
      </a:accent1>
      <a:accent2>
        <a:srgbClr val="81BC00"/>
      </a:accent2>
      <a:accent3>
        <a:srgbClr val="00A1DE"/>
      </a:accent3>
      <a:accent4>
        <a:srgbClr val="3C8A2E"/>
      </a:accent4>
      <a:accent5>
        <a:srgbClr val="72C7E7"/>
      </a:accent5>
      <a:accent6>
        <a:srgbClr val="BDD203"/>
      </a:accent6>
      <a:hlink>
        <a:srgbClr val="00A1DE"/>
      </a:hlink>
      <a:folHlink>
        <a:srgbClr val="72C7E7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spcBef>
            <a:spcPts val="1200"/>
          </a:spcBef>
          <a:buSzPct val="25000"/>
          <a:buFont typeface="Arial" panose="020B0604020202020204" pitchFamily="34" charset="0"/>
          <a:buChar char="‏"/>
          <a:defRPr dirty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3" id="{53B07A2F-6706-457E-B681-2CBBBA664CCB}" vid="{1808CA5C-7338-4030-9C67-53FB5A0F495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FF Slides Template Oct2018</Template>
  <TotalTime>472</TotalTime>
  <Words>607</Words>
  <Application>Microsoft Office PowerPoint</Application>
  <PresentationFormat>On-screen Show (4:3)</PresentationFormat>
  <Paragraphs>109</Paragraphs>
  <Slides>23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23</vt:i4>
      </vt:variant>
    </vt:vector>
  </HeadingPairs>
  <TitlesOfParts>
    <vt:vector size="34" baseType="lpstr">
      <vt:lpstr>Arial</vt:lpstr>
      <vt:lpstr>Calibri</vt:lpstr>
      <vt:lpstr>Cambria</vt:lpstr>
      <vt:lpstr>GillSans</vt:lpstr>
      <vt:lpstr>GillSans Light</vt:lpstr>
      <vt:lpstr>Verdana</vt:lpstr>
      <vt:lpstr>Wingdings</vt:lpstr>
      <vt:lpstr>Wingdings 2</vt:lpstr>
      <vt:lpstr>Deloitte Brand</vt:lpstr>
      <vt:lpstr>think-cell Slide</vt:lpstr>
      <vt:lpstr>Acrobat Documen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First Horizon: Sustaining Innovation</vt:lpstr>
      <vt:lpstr>Third Horizon: Transformative Innovation</vt:lpstr>
      <vt:lpstr>Second Horizon: Disruptive Innovation</vt:lpstr>
      <vt:lpstr>Three Horizons: Bringing it Together</vt:lpstr>
      <vt:lpstr>PowerPoint Presentation</vt:lpstr>
      <vt:lpstr>PowerPoint Presentation</vt:lpstr>
      <vt:lpstr>PowerPoint Presentation</vt:lpstr>
      <vt:lpstr>Fife Shine Programme</vt:lpstr>
      <vt:lpstr>PowerPoint Presentation</vt:lpstr>
      <vt:lpstr>PowerPoint Presentation</vt:lpstr>
      <vt:lpstr>PowerPoint Presentation</vt:lpstr>
      <vt:lpstr>Three Horizons reprise</vt:lpstr>
      <vt:lpstr>Three Horizons Voices and Relationships</vt:lpstr>
      <vt:lpstr>PowerPoint Presentation</vt:lpstr>
      <vt:lpstr>PowerPoint Presentation</vt:lpstr>
      <vt:lpstr>PowerPoint Presentation</vt:lpstr>
      <vt:lpstr>PowerPoint Presentation</vt:lpstr>
    </vt:vector>
  </TitlesOfParts>
  <Company>Deloitt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raham Leicester</dc:creator>
  <cp:lastModifiedBy>Margaret Hannah</cp:lastModifiedBy>
  <cp:revision>68</cp:revision>
  <cp:lastPrinted>2016-01-11T23:40:02Z</cp:lastPrinted>
  <dcterms:created xsi:type="dcterms:W3CDTF">2019-06-12T13:38:06Z</dcterms:created>
  <dcterms:modified xsi:type="dcterms:W3CDTF">2019-08-21T15:57:16Z</dcterms:modified>
</cp:coreProperties>
</file>